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9" r:id="rId1"/>
    <p:sldMasterId id="2147483722" r:id="rId2"/>
    <p:sldMasterId id="2147483762" r:id="rId3"/>
    <p:sldMasterId id="2147483776" r:id="rId4"/>
    <p:sldMasterId id="2147483827" r:id="rId5"/>
    <p:sldMasterId id="2147483860" r:id="rId6"/>
    <p:sldMasterId id="2147483937" r:id="rId7"/>
    <p:sldMasterId id="2147483999" r:id="rId8"/>
    <p:sldMasterId id="2147484048" r:id="rId9"/>
  </p:sldMasterIdLst>
  <p:notesMasterIdLst>
    <p:notesMasterId r:id="rId30"/>
  </p:notesMasterIdLst>
  <p:handoutMasterIdLst>
    <p:handoutMasterId r:id="rId31"/>
  </p:handoutMasterIdLst>
  <p:sldIdLst>
    <p:sldId id="1248" r:id="rId10"/>
    <p:sldId id="1494" r:id="rId11"/>
    <p:sldId id="1497" r:id="rId12"/>
    <p:sldId id="1570" r:id="rId13"/>
    <p:sldId id="1622" r:id="rId14"/>
    <p:sldId id="1623" r:id="rId15"/>
    <p:sldId id="1626" r:id="rId16"/>
    <p:sldId id="1569" r:id="rId17"/>
    <p:sldId id="1572" r:id="rId18"/>
    <p:sldId id="1573" r:id="rId19"/>
    <p:sldId id="1574" r:id="rId20"/>
    <p:sldId id="1575" r:id="rId21"/>
    <p:sldId id="1576" r:id="rId22"/>
    <p:sldId id="1628" r:id="rId23"/>
    <p:sldId id="1629" r:id="rId24"/>
    <p:sldId id="1502" r:id="rId25"/>
    <p:sldId id="1577" r:id="rId26"/>
    <p:sldId id="1624" r:id="rId27"/>
    <p:sldId id="1625" r:id="rId28"/>
    <p:sldId id="1360" r:id="rId29"/>
  </p:sldIdLst>
  <p:sldSz cx="12192000" cy="6858000"/>
  <p:notesSz cx="7010400" cy="92964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 userDrawn="1">
          <p15:clr>
            <a:srgbClr val="A4A3A4"/>
          </p15:clr>
        </p15:guide>
        <p15:guide id="2" orient="horz" pos="888" userDrawn="1">
          <p15:clr>
            <a:srgbClr val="A4A3A4"/>
          </p15:clr>
        </p15:guide>
        <p15:guide id="3" orient="horz" pos="4005" userDrawn="1">
          <p15:clr>
            <a:srgbClr val="A4A3A4"/>
          </p15:clr>
        </p15:guide>
        <p15:guide id="4" orient="horz" pos="531" userDrawn="1">
          <p15:clr>
            <a:srgbClr val="A4A3A4"/>
          </p15:clr>
        </p15:guide>
        <p15:guide id="5" orient="horz" pos="3096" userDrawn="1">
          <p15:clr>
            <a:srgbClr val="A4A3A4"/>
          </p15:clr>
        </p15:guide>
        <p15:guide id="6" pos="2624" userDrawn="1">
          <p15:clr>
            <a:srgbClr val="A4A3A4"/>
          </p15:clr>
        </p15:guide>
        <p15:guide id="7" pos="307" userDrawn="1">
          <p15:clr>
            <a:srgbClr val="A4A3A4"/>
          </p15:clr>
        </p15:guide>
        <p15:guide id="8" pos="7373" userDrawn="1">
          <p15:clr>
            <a:srgbClr val="A4A3A4"/>
          </p15:clr>
        </p15:guide>
        <p15:guide id="9" pos="2176" userDrawn="1">
          <p15:clr>
            <a:srgbClr val="A4A3A4"/>
          </p15:clr>
        </p15:guide>
        <p15:guide id="10" pos="391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lf, Christina" initials="CW" lastIdx="20" clrIdx="0">
    <p:extLst/>
  </p:cmAuthor>
  <p:cmAuthor id="2" name="Tully, Dennis" initials="DT" lastIdx="18" clrIdx="1"/>
  <p:cmAuthor id="3" name="Monica G. Reilly (Open)&#10;" initials="MR" lastIdx="3" clrIdx="2"/>
  <p:cmAuthor id="4" name="Dingler, Eric Blane" initials="ED" lastIdx="368" clrIdx="3"/>
  <p:cmAuthor id="5" name="Kalleberg, Kari" initials="KK" lastIdx="14" clrIdx="4"/>
  <p:cmAuthor id="6" name="Coates, Katie" initials="KC" lastIdx="3" clrIdx="5">
    <p:extLst/>
  </p:cmAuthor>
  <p:cmAuthor id="7" name="Deloitte" initials="D" lastIdx="1" clrIdx="6"/>
  <p:cmAuthor id="8" name="Kmet, Jill" initials="JK" lastIdx="3" clrIdx="7"/>
  <p:cmAuthor id="9" name="Preddie, Tremesha" initials="TP" lastIdx="4" clrIdx="8"/>
  <p:cmAuthor id="10" name="Simmerman, Elizabeth Strawhacker" initials="ES" lastIdx="1" clrIdx="9">
    <p:extLst/>
  </p:cmAuthor>
  <p:cmAuthor id="11" name="Letsos, Anna" initials="AJL" lastIdx="3" clrIdx="10"/>
  <p:cmAuthor id="12" name="Rahman, Kate" initials="KR" lastIdx="13" clrIdx="11">
    <p:extLst/>
  </p:cmAuthor>
  <p:cmAuthor id="13" name="Dandan, Wissam K" initials="WD" lastIdx="46" clrIdx="12">
    <p:extLst/>
  </p:cmAuthor>
  <p:cmAuthor id="14" name="Lyon, Danica" initials="DL" lastIdx="3" clrIdx="13">
    <p:extLst/>
  </p:cmAuthor>
  <p:cmAuthor id="15" name="Russell Bates (Open)&#10;" initials="RB" lastIdx="14" clrIdx="14"/>
  <p:cmAuthor id="16" name="Terry Hardesty (Open)&#10;" initials="TH" lastIdx="3" clrIdx="15"/>
  <p:cmAuthor id="17" name="Letsos, Anna (US - Chicago)" initials="AJL" lastIdx="4" clrIdx="16"/>
  <p:cmAuthor id="18" name="Mitchell, Erika" initials="EM" lastIdx="50" clrIdx="17"/>
  <p:cmAuthor id="19" name="Martin, Briana" initials="BLM" lastIdx="9" clrIdx="18">
    <p:extLst/>
  </p:cmAuthor>
  <p:cmAuthor id="20" name="Eskew, Thomas" initials="TE" lastIdx="47" clrIdx="19">
    <p:extLst/>
  </p:cmAuthor>
  <p:cmAuthor id="21" name="Tandon, Priya" initials="PT" lastIdx="1" clrIdx="20">
    <p:extLst/>
  </p:cmAuthor>
  <p:cmAuthor id="22" name="Alison Rikson (Open)" initials="AR" lastIdx="8"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050"/>
    <a:srgbClr val="28AADA"/>
    <a:srgbClr val="70A0FF"/>
    <a:srgbClr val="FF9900"/>
    <a:srgbClr val="C00000"/>
    <a:srgbClr val="CC3300"/>
    <a:srgbClr val="FF7C80"/>
    <a:srgbClr val="575757"/>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71" autoAdjust="0"/>
    <p:restoredTop sz="95405" autoAdjust="0"/>
  </p:normalViewPr>
  <p:slideViewPr>
    <p:cSldViewPr snapToGrid="0" showGuides="1">
      <p:cViewPr varScale="1">
        <p:scale>
          <a:sx n="111" d="100"/>
          <a:sy n="111" d="100"/>
        </p:scale>
        <p:origin x="792" y="102"/>
      </p:cViewPr>
      <p:guideLst>
        <p:guide orient="horz" pos="244"/>
        <p:guide orient="horz" pos="888"/>
        <p:guide orient="horz" pos="4005"/>
        <p:guide orient="horz" pos="531"/>
        <p:guide orient="horz" pos="3096"/>
        <p:guide pos="2624"/>
        <p:guide pos="307"/>
        <p:guide pos="7373"/>
        <p:guide pos="2176"/>
        <p:guide pos="391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61" d="100"/>
          <a:sy n="61" d="100"/>
        </p:scale>
        <p:origin x="1982" y="43"/>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3038049" cy="464316"/>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5" y="0"/>
            <a:ext cx="3038049" cy="464316"/>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9/21/2015</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3"/>
            <a:ext cx="3038049" cy="464316"/>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5" y="8830643"/>
            <a:ext cx="3038049" cy="464316"/>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9/21/2015</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a:xfrm>
            <a:off x="729828" y="4561227"/>
            <a:ext cx="5855547" cy="169277"/>
          </a:xfrm>
        </p:spPr>
        <p:txBody>
          <a:bodyPr>
            <a:normAutofit fontScale="47500" lnSpcReduction="20000"/>
          </a:bodyPr>
          <a:lstStyle/>
          <a:p>
            <a:pPr defTabSz="952017">
              <a:defRPr/>
            </a:pPr>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2303583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xfrm>
            <a:off x="407988" y="698500"/>
            <a:ext cx="6194425" cy="3484563"/>
          </a:xfrm>
          <a:noFill/>
          <a:ln>
            <a:solidFill>
              <a:srgbClr val="000000"/>
            </a:solidFill>
            <a:miter lim="800000"/>
            <a:headEnd/>
            <a:tailEnd/>
          </a:ln>
        </p:spPr>
      </p:sp>
      <p:sp>
        <p:nvSpPr>
          <p:cNvPr id="284675" name="Rectangle 3"/>
          <p:cNvSpPr>
            <a:spLocks noGrp="1"/>
          </p:cNvSpPr>
          <p:nvPr>
            <p:ph type="body" idx="1"/>
          </p:nvPr>
        </p:nvSpPr>
        <p:spPr>
          <a:xfrm>
            <a:off x="729828" y="4561227"/>
            <a:ext cx="5855547" cy="169277"/>
          </a:xfrm>
        </p:spPr>
        <p:txBody>
          <a:bodyPr>
            <a:normAutofit fontScale="47500" lnSpcReduction="20000"/>
          </a:bodyPr>
          <a:lstStyle/>
          <a:p>
            <a:endParaRPr lang="en-US" dirty="0" smtClean="0"/>
          </a:p>
        </p:txBody>
      </p:sp>
    </p:spTree>
    <p:extLst>
      <p:ext uri="{BB962C8B-B14F-4D97-AF65-F5344CB8AC3E}">
        <p14:creationId xmlns:p14="http://schemas.microsoft.com/office/powerpoint/2010/main" val="1669836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9619532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434645" y="399577"/>
            <a:ext cx="2294400" cy="322531"/>
          </a:xfrm>
          <a:prstGeom prst="rect">
            <a:avLst/>
          </a:prstGeom>
        </p:spPr>
      </p:pic>
    </p:spTree>
    <p:extLst>
      <p:ext uri="{BB962C8B-B14F-4D97-AF65-F5344CB8AC3E}">
        <p14:creationId xmlns:p14="http://schemas.microsoft.com/office/powerpoint/2010/main" val="26069613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487680" y="782621"/>
            <a:ext cx="54864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1511234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3542453" y="2185416"/>
            <a:ext cx="810768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3547872" y="3931920"/>
            <a:ext cx="810768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297501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841248" y="1536192"/>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9" name="Text Placeholder 10"/>
          <p:cNvSpPr>
            <a:spLocks noGrp="1"/>
          </p:cNvSpPr>
          <p:nvPr>
            <p:ph type="body" sz="quarter" idx="17"/>
          </p:nvPr>
        </p:nvSpPr>
        <p:spPr>
          <a:xfrm>
            <a:off x="841248" y="2779776"/>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841248" y="4023360"/>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10"/>
          <p:cNvSpPr>
            <a:spLocks noGrp="1"/>
          </p:cNvSpPr>
          <p:nvPr>
            <p:ph type="body" sz="quarter" idx="19"/>
          </p:nvPr>
        </p:nvSpPr>
        <p:spPr>
          <a:xfrm>
            <a:off x="841248" y="5266944"/>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Text Placeholder 10"/>
          <p:cNvSpPr>
            <a:spLocks noGrp="1"/>
          </p:cNvSpPr>
          <p:nvPr>
            <p:ph type="body" sz="quarter" idx="21"/>
          </p:nvPr>
        </p:nvSpPr>
        <p:spPr>
          <a:xfrm>
            <a:off x="6620256" y="2779776"/>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10"/>
          <p:cNvSpPr>
            <a:spLocks noGrp="1"/>
          </p:cNvSpPr>
          <p:nvPr>
            <p:ph type="body" sz="quarter" idx="23"/>
          </p:nvPr>
        </p:nvSpPr>
        <p:spPr>
          <a:xfrm>
            <a:off x="6620256" y="5266944"/>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24"/>
          </p:nvPr>
        </p:nvSpPr>
        <p:spPr>
          <a:xfrm>
            <a:off x="6620256" y="4023360"/>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10"/>
          <p:cNvSpPr>
            <a:spLocks noGrp="1"/>
          </p:cNvSpPr>
          <p:nvPr>
            <p:ph type="body" sz="quarter" idx="25"/>
          </p:nvPr>
        </p:nvSpPr>
        <p:spPr>
          <a:xfrm>
            <a:off x="6620256" y="1536192"/>
            <a:ext cx="5035296" cy="85953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3221802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24256" y="2852928"/>
            <a:ext cx="5559552"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a:p>
        </p:txBody>
      </p:sp>
      <p:sp>
        <p:nvSpPr>
          <p:cNvPr id="6" name="Text Placeholder 10"/>
          <p:cNvSpPr>
            <a:spLocks noGrp="1"/>
          </p:cNvSpPr>
          <p:nvPr>
            <p:ph type="body" sz="quarter" idx="14"/>
          </p:nvPr>
        </p:nvSpPr>
        <p:spPr>
          <a:xfrm>
            <a:off x="6083808" y="2852928"/>
            <a:ext cx="5559552"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31635666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36448" y="3200400"/>
            <a:ext cx="5559552" cy="3090672"/>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3200400"/>
            <a:ext cx="5340096" cy="3090672"/>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655655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1434"/>
            <a:ext cx="5559552"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083808" y="1828800"/>
            <a:ext cx="5559552" cy="1892808"/>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536448" y="4251960"/>
            <a:ext cx="11119104"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698497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8800"/>
            <a:ext cx="2779776"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ext Placeholder 10"/>
          <p:cNvSpPr>
            <a:spLocks noGrp="1"/>
          </p:cNvSpPr>
          <p:nvPr>
            <p:ph type="body" sz="quarter" idx="16"/>
          </p:nvPr>
        </p:nvSpPr>
        <p:spPr>
          <a:xfrm>
            <a:off x="3304032" y="1828800"/>
            <a:ext cx="2779776"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10"/>
          <p:cNvSpPr>
            <a:spLocks noGrp="1"/>
          </p:cNvSpPr>
          <p:nvPr>
            <p:ph type="body" sz="quarter" idx="17"/>
          </p:nvPr>
        </p:nvSpPr>
        <p:spPr>
          <a:xfrm>
            <a:off x="6083808" y="1828800"/>
            <a:ext cx="2779776"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8863584" y="1828800"/>
            <a:ext cx="2779776"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15"/>
          </p:nvPr>
        </p:nvSpPr>
        <p:spPr>
          <a:xfrm>
            <a:off x="536448" y="4251960"/>
            <a:ext cx="11119104" cy="2048256"/>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8721240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8800"/>
            <a:ext cx="37063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4230624" y="1828800"/>
            <a:ext cx="37063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7"/>
          </p:nvPr>
        </p:nvSpPr>
        <p:spPr>
          <a:xfrm>
            <a:off x="7949184" y="1828800"/>
            <a:ext cx="3706368" cy="189280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10"/>
          <p:cNvSpPr>
            <a:spLocks noGrp="1"/>
          </p:cNvSpPr>
          <p:nvPr>
            <p:ph type="body" sz="quarter" idx="18"/>
          </p:nvPr>
        </p:nvSpPr>
        <p:spPr>
          <a:xfrm>
            <a:off x="536448" y="4242816"/>
            <a:ext cx="5340096"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19"/>
          </p:nvPr>
        </p:nvSpPr>
        <p:spPr>
          <a:xfrm>
            <a:off x="6303264" y="4242816"/>
            <a:ext cx="5340096" cy="20482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3657917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87984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524256" y="1728216"/>
            <a:ext cx="5291328" cy="3986784"/>
          </a:xfrm>
        </p:spPr>
        <p:txBody>
          <a:bodyPr/>
          <a:lstStyle>
            <a:lvl1pPr>
              <a:buNone/>
              <a:defRPr/>
            </a:lvl1pPr>
          </a:lstStyle>
          <a:p>
            <a:pPr lvl="0"/>
            <a:r>
              <a:rPr lang="en-US" noProof="0" dirty="0" smtClean="0"/>
              <a:t>Click icon to add chart</a:t>
            </a:r>
          </a:p>
        </p:txBody>
      </p:sp>
    </p:spTree>
    <p:extLst>
      <p:ext uri="{BB962C8B-B14F-4D97-AF65-F5344CB8AC3E}">
        <p14:creationId xmlns:p14="http://schemas.microsoft.com/office/powerpoint/2010/main" val="1257234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33400" y="5056632"/>
            <a:ext cx="11122152" cy="124358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585216" y="1197864"/>
            <a:ext cx="11033760" cy="3383280"/>
          </a:xfrm>
        </p:spPr>
        <p:txBody>
          <a:bodyPr/>
          <a:lstStyle>
            <a:lvl1pPr>
              <a:buNone/>
              <a:defRPr/>
            </a:lvl1pPr>
          </a:lstStyle>
          <a:p>
            <a:pPr lvl="0"/>
            <a:r>
              <a:rPr lang="en-US" noProof="0" dirty="0" smtClean="0"/>
              <a:t>Click icon to add chart</a:t>
            </a:r>
          </a:p>
        </p:txBody>
      </p:sp>
    </p:spTree>
    <p:extLst>
      <p:ext uri="{BB962C8B-B14F-4D97-AF65-F5344CB8AC3E}">
        <p14:creationId xmlns:p14="http://schemas.microsoft.com/office/powerpoint/2010/main" val="1859250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487680" y="782621"/>
            <a:ext cx="1121664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4432221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33400" y="1155700"/>
            <a:ext cx="11116733" cy="5137150"/>
          </a:xfrm>
        </p:spPr>
        <p:txBody>
          <a:bodyPr/>
          <a:lstStyle/>
          <a:p>
            <a:pPr lvl="0"/>
            <a:r>
              <a:rPr lang="en-US" smtClean="0"/>
              <a:t>Click to edit Master text styles</a:t>
            </a:r>
          </a:p>
        </p:txBody>
      </p:sp>
    </p:spTree>
    <p:extLst>
      <p:ext uri="{BB962C8B-B14F-4D97-AF65-F5344CB8AC3E}">
        <p14:creationId xmlns:p14="http://schemas.microsoft.com/office/powerpoint/2010/main" val="11143719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36448" y="3044952"/>
            <a:ext cx="5340096" cy="3246120"/>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3044952"/>
            <a:ext cx="5340096" cy="3246120"/>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537387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62030327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407989"/>
            <a:ext cx="11116733" cy="365125"/>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533400" y="1154113"/>
            <a:ext cx="11116733" cy="5135562"/>
          </a:xfrm>
        </p:spPr>
        <p:txBody>
          <a:bodyPr/>
          <a:lstStyle/>
          <a:p>
            <a:pPr lvl="0"/>
            <a:r>
              <a:rPr lang="en-US" noProof="0" dirty="0" smtClean="0"/>
              <a:t>Click icon to add table</a:t>
            </a:r>
          </a:p>
        </p:txBody>
      </p:sp>
    </p:spTree>
    <p:extLst>
      <p:ext uri="{BB962C8B-B14F-4D97-AF65-F5344CB8AC3E}">
        <p14:creationId xmlns:p14="http://schemas.microsoft.com/office/powerpoint/2010/main" val="41213073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HP_223"/>
          <p:cNvSpPr txBox="1">
            <a:spLocks/>
          </p:cNvSpPr>
          <p:nvPr/>
        </p:nvSpPr>
        <p:spPr bwMode="auto">
          <a:xfrm>
            <a:off x="4440767" y="1019175"/>
            <a:ext cx="5340351"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charset="0"/>
                <a:cs typeface="Arial" charset="0"/>
              </a:defRPr>
            </a:lvl1pPr>
            <a:lvl2pPr marL="227013" indent="-225425"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lvl="1" eaLnBrk="1" fontAlgn="base" hangingPunct="1">
              <a:lnSpc>
                <a:spcPct val="106000"/>
              </a:lnSpc>
              <a:spcBef>
                <a:spcPct val="40000"/>
              </a:spcBef>
              <a:spcAft>
                <a:spcPct val="0"/>
              </a:spcAft>
              <a:buClr>
                <a:srgbClr val="000000"/>
              </a:buClr>
              <a:buFont typeface="Wingdings 2" pitchFamily="18" charset="2"/>
              <a:buChar char="¡"/>
            </a:pPr>
            <a:r>
              <a:rPr lang="en-US" sz="1800" dirty="0">
                <a:solidFill>
                  <a:srgbClr val="000000"/>
                </a:solidFill>
              </a:rPr>
              <a:t>Bullet</a:t>
            </a:r>
          </a:p>
          <a:p>
            <a:pPr eaLnBrk="1" fontAlgn="base" hangingPunct="1">
              <a:lnSpc>
                <a:spcPct val="106000"/>
              </a:lnSpc>
              <a:spcBef>
                <a:spcPct val="40000"/>
              </a:spcBef>
              <a:spcAft>
                <a:spcPct val="0"/>
              </a:spcAft>
              <a:buClr>
                <a:srgbClr val="000000"/>
              </a:buClr>
              <a:buSzPct val="80000"/>
              <a:buFont typeface="Wingdings" pitchFamily="2" charset="2"/>
              <a:buNone/>
            </a:pPr>
            <a:endParaRPr lang="en-US" sz="1800" dirty="0">
              <a:solidFill>
                <a:srgbClr val="000000"/>
              </a:solidFill>
            </a:endParaRPr>
          </a:p>
        </p:txBody>
      </p:sp>
    </p:spTree>
    <p:extLst>
      <p:ext uri="{BB962C8B-B14F-4D97-AF65-F5344CB8AC3E}">
        <p14:creationId xmlns:p14="http://schemas.microsoft.com/office/powerpoint/2010/main" val="9383485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450279"/>
            <a:ext cx="11106912"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5370858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793068" y="3032126"/>
            <a:ext cx="4601633"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536448" y="5458968"/>
            <a:ext cx="658368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761650930"/>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339482"/>
            <a:ext cx="10363200" cy="260969"/>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6817926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3118606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5248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870016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1220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9168" y="1154113"/>
            <a:ext cx="2569633"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302001" y="1154113"/>
            <a:ext cx="2571751"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57072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56669"/>
            <a:ext cx="10972800" cy="26096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541028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157536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5831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08857"/>
            <a:ext cx="4011084" cy="326243"/>
          </a:xfrm>
        </p:spPr>
        <p:txBody>
          <a:bodyPr/>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169941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41095"/>
            <a:ext cx="7315200" cy="326243"/>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40836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3085709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79417" y="514351"/>
            <a:ext cx="260969" cy="57753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29167" y="514351"/>
            <a:ext cx="8147051" cy="57753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1488188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781051" y="776289"/>
            <a:ext cx="10629900" cy="4795837"/>
          </a:xfrm>
          <a:prstGeom prst="rect">
            <a:avLst/>
          </a:prstGeom>
          <a:solidFill>
            <a:schemeClr val="bg1"/>
          </a:solidFill>
          <a:ln w="1905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US" sz="1100" b="1" dirty="0">
              <a:solidFill>
                <a:srgbClr val="000000"/>
              </a:solidFill>
              <a:cs typeface="Arial" pitchFamily="34" charset="0"/>
            </a:endParaRPr>
          </a:p>
        </p:txBody>
      </p:sp>
      <p:pic>
        <p:nvPicPr>
          <p:cNvPr id="5" name="Picture 93"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83" t="1840" b="59741"/>
          <a:stretch>
            <a:fillRect/>
          </a:stretch>
        </p:blipFill>
        <p:spPr bwMode="gray">
          <a:xfrm>
            <a:off x="1193800" y="6026151"/>
            <a:ext cx="1938867" cy="276225"/>
          </a:xfrm>
          <a:prstGeom prst="rect">
            <a:avLst/>
          </a:prstGeom>
          <a:noFill/>
          <a:ln w="9525">
            <a:noFill/>
            <a:miter lim="800000"/>
            <a:headEnd/>
            <a:tailEnd/>
          </a:ln>
        </p:spPr>
      </p:pic>
      <p:sp>
        <p:nvSpPr>
          <p:cNvPr id="3700739" name="MSTSHP_03"/>
          <p:cNvSpPr>
            <a:spLocks noGrp="1" noChangeArrowheads="1"/>
          </p:cNvSpPr>
          <p:nvPr>
            <p:ph type="ctrTitle" sz="quarter"/>
          </p:nvPr>
        </p:nvSpPr>
        <p:spPr>
          <a:xfrm>
            <a:off x="1189567" y="2695576"/>
            <a:ext cx="8775700"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a:xfrm>
            <a:off x="1189568" y="3516314"/>
            <a:ext cx="8777817" cy="359073"/>
          </a:xfrm>
          <a:ln/>
        </p:spPr>
        <p:txBody>
          <a:bodyPr/>
          <a:lstStyle>
            <a:lvl1pPr>
              <a:lnSpc>
                <a:spcPts val="2800"/>
              </a:lnSpc>
              <a:spcBef>
                <a:spcPct val="15000"/>
              </a:spcBef>
              <a:buClrTx/>
              <a:buNone/>
              <a:defRPr sz="2000" b="1"/>
            </a:lvl1pPr>
          </a:lstStyle>
          <a:p>
            <a:r>
              <a:rPr lang="en-US" smtClean="0"/>
              <a:t>Click to edit Master subtitle style</a:t>
            </a:r>
            <a:endParaRPr lang="en-US" dirty="0"/>
          </a:p>
        </p:txBody>
      </p:sp>
    </p:spTree>
    <p:extLst>
      <p:ext uri="{BB962C8B-B14F-4D97-AF65-F5344CB8AC3E}">
        <p14:creationId xmlns:p14="http://schemas.microsoft.com/office/powerpoint/2010/main" val="42500719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535517" y="803275"/>
            <a:ext cx="11114616" cy="0"/>
          </a:xfrm>
          <a:prstGeom prst="line">
            <a:avLst/>
          </a:prstGeom>
          <a:noFill/>
          <a:ln w="28575">
            <a:solidFill>
              <a:schemeClr val="accent1"/>
            </a:solidFill>
            <a:round/>
            <a:headEnd/>
            <a:tailEnd/>
          </a:ln>
          <a:effectLst/>
        </p:spPr>
        <p:txBody>
          <a:bodyPr wrap="none" anchor="ctr"/>
          <a:lstStyle/>
          <a:p>
            <a:pPr fontAlgn="base">
              <a:lnSpc>
                <a:spcPct val="106000"/>
              </a:lnSpc>
              <a:spcBef>
                <a:spcPct val="0"/>
              </a:spcBef>
              <a:spcAft>
                <a:spcPct val="0"/>
              </a:spcAft>
              <a:buFont typeface="Wingdings 2" pitchFamily="18" charset="2"/>
              <a:buNone/>
              <a:defRPr/>
            </a:pPr>
            <a:endParaRPr lang="en-US" sz="2400" dirty="0">
              <a:solidFill>
                <a:srgbClr val="000000"/>
              </a:solidFill>
              <a:cs typeface="Arial" pitchFamily="34" charset="0"/>
            </a:endParaRPr>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33400" y="1155700"/>
            <a:ext cx="11116733" cy="326243"/>
          </a:xfrm>
        </p:spPr>
        <p:txBody>
          <a:bodyPr/>
          <a:lstStyle>
            <a:lvl1pPr>
              <a:defRPr sz="2000"/>
            </a:lvl1pPr>
          </a:lstStyle>
          <a:p>
            <a:pPr lvl="0"/>
            <a:r>
              <a:rPr lang="en-US" smtClean="0"/>
              <a:t>Click to edit Master text styles</a:t>
            </a:r>
          </a:p>
        </p:txBody>
      </p:sp>
    </p:spTree>
    <p:extLst>
      <p:ext uri="{BB962C8B-B14F-4D97-AF65-F5344CB8AC3E}">
        <p14:creationId xmlns:p14="http://schemas.microsoft.com/office/powerpoint/2010/main" val="537875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67361045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524000" y="2551176"/>
            <a:ext cx="9144000" cy="1344168"/>
          </a:xfrm>
          <a:ln w="28575">
            <a:solidFill>
              <a:srgbClr val="003399"/>
            </a:solidFill>
          </a:ln>
        </p:spPr>
        <p:txBody>
          <a:bodyPr lIns="228600" rIns="228600" anchor="ctr" anchorCtr="1">
            <a:noAutofit/>
          </a:bodyPr>
          <a:lstStyle>
            <a:lvl1pPr marL="0" indent="0" algn="ctr">
              <a:spcBef>
                <a:spcPts val="0"/>
              </a:spcBef>
              <a:defRPr sz="2400" b="1"/>
            </a:lvl1pPr>
          </a:lstStyle>
          <a:p>
            <a:pPr lvl="0"/>
            <a:r>
              <a:rPr lang="en-US" dirty="0" smtClean="0"/>
              <a:t>Click to edit Master text styles</a:t>
            </a:r>
          </a:p>
        </p:txBody>
      </p:sp>
    </p:spTree>
    <p:extLst>
      <p:ext uri="{BB962C8B-B14F-4D97-AF65-F5344CB8AC3E}">
        <p14:creationId xmlns:p14="http://schemas.microsoft.com/office/powerpoint/2010/main" val="28380323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524000" y="2802824"/>
            <a:ext cx="9144000" cy="840871"/>
          </a:xfrm>
        </p:spPr>
        <p:txBody>
          <a:bodyPr anchor="ctr"/>
          <a:lstStyle>
            <a:lvl1pPr>
              <a:spcBef>
                <a:spcPts val="200"/>
              </a:spcBef>
              <a:defRPr sz="24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6522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41867" y="1155700"/>
            <a:ext cx="11119104" cy="1695208"/>
          </a:xfrm>
        </p:spPr>
        <p:txBody>
          <a:bodyPr>
            <a:spAutoFit/>
          </a:bodyPr>
          <a:lstStyle>
            <a:lvl1pPr marL="0" indent="0">
              <a:buNone/>
              <a:defRPr/>
            </a:lvl1pPr>
            <a:lvl3pPr>
              <a:defRPr sz="1800"/>
            </a:lvl3pPr>
            <a:lvl4pPr>
              <a:defRPr sz="18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68414966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326243"/>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36448" y="2715768"/>
            <a:ext cx="5340096" cy="1473609"/>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4017" y="2706624"/>
            <a:ext cx="5340096" cy="1473609"/>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284104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326243"/>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36448" y="2715768"/>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2706624"/>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105207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7348383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152144"/>
            <a:ext cx="5340096" cy="1396023"/>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141799216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71638"/>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536448" y="1671638"/>
            <a:ext cx="5340096" cy="176907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1"/>
          <p:cNvSpPr>
            <a:spLocks noGrp="1"/>
          </p:cNvSpPr>
          <p:nvPr>
            <p:ph type="title"/>
          </p:nvPr>
        </p:nvSpPr>
        <p:spPr>
          <a:xfrm>
            <a:off x="536448" y="411480"/>
            <a:ext cx="11119104" cy="365760"/>
          </a:xfrm>
          <a:prstGeom prst="rect">
            <a:avLst/>
          </a:prstGeom>
        </p:spPr>
        <p:txBody>
          <a:bodyPr/>
          <a:lstStyle>
            <a:lvl1pPr>
              <a:defRPr/>
            </a:lvl1pPr>
          </a:lstStyle>
          <a:p>
            <a:r>
              <a:rPr lang="en-US" smtClean="0"/>
              <a:t>Click to edit Master title style</a:t>
            </a:r>
            <a:endParaRPr lang="en-US"/>
          </a:p>
        </p:txBody>
      </p:sp>
      <p:sp>
        <p:nvSpPr>
          <p:cNvPr id="7" name="Text Placeholder 10"/>
          <p:cNvSpPr>
            <a:spLocks noGrp="1"/>
          </p:cNvSpPr>
          <p:nvPr>
            <p:ph type="body" sz="quarter" idx="15"/>
          </p:nvPr>
        </p:nvSpPr>
        <p:spPr>
          <a:xfrm>
            <a:off x="6315456" y="4241102"/>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10"/>
          <p:cNvSpPr>
            <a:spLocks noGrp="1"/>
          </p:cNvSpPr>
          <p:nvPr>
            <p:ph type="body" sz="quarter" idx="16"/>
          </p:nvPr>
        </p:nvSpPr>
        <p:spPr>
          <a:xfrm>
            <a:off x="536448" y="4251960"/>
            <a:ext cx="5340096" cy="176907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9720679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536448" y="1682496"/>
            <a:ext cx="5340096"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1112926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326243"/>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536448" y="2176272"/>
            <a:ext cx="11119104" cy="326243"/>
          </a:xfrm>
        </p:spPr>
        <p:txBody>
          <a:bodyPr/>
          <a:lstStyle/>
          <a:p>
            <a:pPr lvl="0"/>
            <a:r>
              <a:rPr lang="en-US" noProof="0" dirty="0" smtClean="0"/>
              <a:t>Click icon to add table</a:t>
            </a:r>
          </a:p>
        </p:txBody>
      </p:sp>
    </p:spTree>
    <p:extLst>
      <p:ext uri="{BB962C8B-B14F-4D97-AF65-F5344CB8AC3E}">
        <p14:creationId xmlns:p14="http://schemas.microsoft.com/office/powerpoint/2010/main" val="218955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9029967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536448" y="1747838"/>
            <a:ext cx="11119104" cy="326243"/>
          </a:xfrm>
        </p:spPr>
        <p:txBody>
          <a:bodyPr/>
          <a:lstStyle/>
          <a:p>
            <a:pPr lvl="0"/>
            <a:r>
              <a:rPr lang="en-US" noProof="0" dirty="0" smtClean="0"/>
              <a:t>Click icon to add table</a:t>
            </a:r>
          </a:p>
        </p:txBody>
      </p:sp>
    </p:spTree>
    <p:extLst>
      <p:ext uri="{BB962C8B-B14F-4D97-AF65-F5344CB8AC3E}">
        <p14:creationId xmlns:p14="http://schemas.microsoft.com/office/powerpoint/2010/main" val="10688437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3547872" y="1155700"/>
            <a:ext cx="8107680"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3542453" y="2898648"/>
            <a:ext cx="8107680"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3542453" y="4645152"/>
            <a:ext cx="8107680"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218259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jor Points w/para">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326243"/>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3542453" y="2185416"/>
            <a:ext cx="8107680"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3547872" y="3931920"/>
            <a:ext cx="8107680" cy="1473609"/>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4128336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Numbered points ">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841248" y="1536192"/>
            <a:ext cx="5035296" cy="1357231"/>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a:lvl1pPr>
          </a:lstStyle>
          <a:p>
            <a:r>
              <a:rPr lang="en-US" smtClean="0"/>
              <a:t>Click to edit Master title style</a:t>
            </a:r>
            <a:endParaRPr lang="en-US"/>
          </a:p>
        </p:txBody>
      </p:sp>
      <p:sp>
        <p:nvSpPr>
          <p:cNvPr id="9" name="Text Placeholder 10"/>
          <p:cNvSpPr>
            <a:spLocks noGrp="1"/>
          </p:cNvSpPr>
          <p:nvPr>
            <p:ph type="body" sz="quarter" idx="17"/>
          </p:nvPr>
        </p:nvSpPr>
        <p:spPr>
          <a:xfrm>
            <a:off x="841248" y="2779776"/>
            <a:ext cx="5035296" cy="1357231"/>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841248" y="4023360"/>
            <a:ext cx="5035296" cy="1357231"/>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10"/>
          <p:cNvSpPr>
            <a:spLocks noGrp="1"/>
          </p:cNvSpPr>
          <p:nvPr>
            <p:ph type="body" sz="quarter" idx="19"/>
          </p:nvPr>
        </p:nvSpPr>
        <p:spPr>
          <a:xfrm>
            <a:off x="841248" y="5266944"/>
            <a:ext cx="5035296" cy="1652697"/>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Text Placeholder 10"/>
          <p:cNvSpPr>
            <a:spLocks noGrp="1"/>
          </p:cNvSpPr>
          <p:nvPr>
            <p:ph type="body" sz="quarter" idx="20"/>
          </p:nvPr>
        </p:nvSpPr>
        <p:spPr>
          <a:xfrm>
            <a:off x="6620256" y="1536192"/>
            <a:ext cx="5035296" cy="1652697"/>
          </a:xfrm>
        </p:spPr>
        <p:txBody>
          <a:bodyPr/>
          <a:lstStyle>
            <a:lvl1pPr marL="0" indent="0">
              <a:defRPr sz="1800">
                <a:latin typeface="Arial" pitchFamily="34" charset="0"/>
                <a:cs typeface="Arial" pitchFamily="34" charset="0"/>
              </a:defRPr>
            </a:lvl1pPr>
            <a:lvl2pPr>
              <a:buFont typeface="Wingdings" pitchFamily="2" charset="2"/>
              <a:buChar cha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5" name="Text Placeholder 10"/>
          <p:cNvSpPr>
            <a:spLocks noGrp="1"/>
          </p:cNvSpPr>
          <p:nvPr>
            <p:ph type="body" sz="quarter" idx="21"/>
          </p:nvPr>
        </p:nvSpPr>
        <p:spPr>
          <a:xfrm>
            <a:off x="6620256" y="2779776"/>
            <a:ext cx="5035296" cy="1652697"/>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10"/>
          <p:cNvSpPr>
            <a:spLocks noGrp="1"/>
          </p:cNvSpPr>
          <p:nvPr>
            <p:ph type="body" sz="quarter" idx="22"/>
          </p:nvPr>
        </p:nvSpPr>
        <p:spPr>
          <a:xfrm>
            <a:off x="6620256" y="4023360"/>
            <a:ext cx="5035296" cy="1652697"/>
          </a:xfrm>
        </p:spPr>
        <p:txBody>
          <a:bodyPr/>
          <a:lstStyle>
            <a:lvl1pPr marL="0" indent="0">
              <a:defRPr sz="1800">
                <a:latin typeface="Arial" pitchFamily="34" charset="0"/>
                <a:cs typeface="Arial" pitchFamily="34" charset="0"/>
              </a:defRPr>
            </a:lvl1pPr>
            <a:lvl2pPr>
              <a:buFont typeface="Wingdings" pitchFamily="2" charset="2"/>
              <a:buChar cha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10"/>
          <p:cNvSpPr>
            <a:spLocks noGrp="1"/>
          </p:cNvSpPr>
          <p:nvPr>
            <p:ph type="body" sz="quarter" idx="23"/>
          </p:nvPr>
        </p:nvSpPr>
        <p:spPr>
          <a:xfrm>
            <a:off x="6620256" y="5266944"/>
            <a:ext cx="5035296" cy="1652697"/>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71158589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ara w/ 2 Chevr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326243"/>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24256" y="2852928"/>
            <a:ext cx="5559552" cy="1351075"/>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a:p>
        </p:txBody>
      </p:sp>
      <p:sp>
        <p:nvSpPr>
          <p:cNvPr id="6" name="Text Placeholder 10"/>
          <p:cNvSpPr>
            <a:spLocks noGrp="1"/>
          </p:cNvSpPr>
          <p:nvPr>
            <p:ph type="body" sz="quarter" idx="14"/>
          </p:nvPr>
        </p:nvSpPr>
        <p:spPr>
          <a:xfrm>
            <a:off x="6083808" y="2852928"/>
            <a:ext cx="5559552" cy="326243"/>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14526891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36448" y="3200400"/>
            <a:ext cx="5559552" cy="1396023"/>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3200400"/>
            <a:ext cx="5340096" cy="1396023"/>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775647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1434"/>
            <a:ext cx="5559552" cy="1351075"/>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083808" y="1828800"/>
            <a:ext cx="5559552" cy="1351075"/>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536448" y="4251960"/>
            <a:ext cx="11119104" cy="1351075"/>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4269123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8800"/>
            <a:ext cx="2779776" cy="161204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ext Placeholder 10"/>
          <p:cNvSpPr>
            <a:spLocks noGrp="1"/>
          </p:cNvSpPr>
          <p:nvPr>
            <p:ph type="body" sz="quarter" idx="16"/>
          </p:nvPr>
        </p:nvSpPr>
        <p:spPr>
          <a:xfrm>
            <a:off x="3304032" y="1828800"/>
            <a:ext cx="2779776" cy="161204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10"/>
          <p:cNvSpPr>
            <a:spLocks noGrp="1"/>
          </p:cNvSpPr>
          <p:nvPr>
            <p:ph type="body" sz="quarter" idx="17"/>
          </p:nvPr>
        </p:nvSpPr>
        <p:spPr>
          <a:xfrm>
            <a:off x="6083808" y="1828800"/>
            <a:ext cx="2779776" cy="161204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8"/>
          </p:nvPr>
        </p:nvSpPr>
        <p:spPr>
          <a:xfrm>
            <a:off x="8863584" y="1828800"/>
            <a:ext cx="2779776" cy="1612044"/>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0"/>
          <p:cNvSpPr>
            <a:spLocks noGrp="1"/>
          </p:cNvSpPr>
          <p:nvPr>
            <p:ph type="body" sz="quarter" idx="15"/>
          </p:nvPr>
        </p:nvSpPr>
        <p:spPr>
          <a:xfrm>
            <a:off x="536448" y="4251960"/>
            <a:ext cx="11119104" cy="1351075"/>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243283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 Chevron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4256" y="1828800"/>
            <a:ext cx="3706368"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4230624" y="1828800"/>
            <a:ext cx="3706368"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ext Placeholder 10"/>
          <p:cNvSpPr>
            <a:spLocks noGrp="1"/>
          </p:cNvSpPr>
          <p:nvPr>
            <p:ph type="body" sz="quarter" idx="17"/>
          </p:nvPr>
        </p:nvSpPr>
        <p:spPr>
          <a:xfrm>
            <a:off x="7949184" y="1828800"/>
            <a:ext cx="3706368"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10"/>
          <p:cNvSpPr>
            <a:spLocks noGrp="1"/>
          </p:cNvSpPr>
          <p:nvPr>
            <p:ph type="body" sz="quarter" idx="18"/>
          </p:nvPr>
        </p:nvSpPr>
        <p:spPr>
          <a:xfrm>
            <a:off x="536448" y="4242816"/>
            <a:ext cx="5340096"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0"/>
          <p:cNvSpPr>
            <a:spLocks noGrp="1"/>
          </p:cNvSpPr>
          <p:nvPr>
            <p:ph type="body" sz="quarter" idx="19"/>
          </p:nvPr>
        </p:nvSpPr>
        <p:spPr>
          <a:xfrm>
            <a:off x="6303264" y="4242816"/>
            <a:ext cx="5340096"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63446562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08153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47993942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524256" y="1728216"/>
            <a:ext cx="5291328" cy="326243"/>
          </a:xfrm>
        </p:spPr>
        <p:txBody>
          <a:bodyPr/>
          <a:lstStyle>
            <a:lvl1pPr>
              <a:buNone/>
              <a:defRPr/>
            </a:lvl1pPr>
          </a:lstStyle>
          <a:p>
            <a:pPr lvl="0"/>
            <a:r>
              <a:rPr lang="en-US" noProof="0" dirty="0" smtClean="0"/>
              <a:t>Click icon to add chart</a:t>
            </a:r>
          </a:p>
        </p:txBody>
      </p:sp>
    </p:spTree>
    <p:extLst>
      <p:ext uri="{BB962C8B-B14F-4D97-AF65-F5344CB8AC3E}">
        <p14:creationId xmlns:p14="http://schemas.microsoft.com/office/powerpoint/2010/main" val="289581695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rts (top)">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533400" y="5056632"/>
            <a:ext cx="11122152" cy="1318438"/>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585216" y="1197864"/>
            <a:ext cx="11033760" cy="326243"/>
          </a:xfrm>
        </p:spPr>
        <p:txBody>
          <a:bodyPr/>
          <a:lstStyle>
            <a:lvl1pPr>
              <a:buNone/>
              <a:defRPr/>
            </a:lvl1pPr>
          </a:lstStyle>
          <a:p>
            <a:pPr lvl="0"/>
            <a:r>
              <a:rPr lang="en-US" noProof="0" dirty="0" smtClean="0"/>
              <a:t>Click icon to add chart</a:t>
            </a:r>
          </a:p>
        </p:txBody>
      </p:sp>
    </p:spTree>
    <p:extLst>
      <p:ext uri="{BB962C8B-B14F-4D97-AF65-F5344CB8AC3E}">
        <p14:creationId xmlns:p14="http://schemas.microsoft.com/office/powerpoint/2010/main" val="9339854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rg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33400" y="1155700"/>
            <a:ext cx="11116733" cy="326243"/>
          </a:xfrm>
        </p:spPr>
        <p:txBody>
          <a:bodyPr/>
          <a:lstStyle/>
          <a:p>
            <a:pPr lvl="0"/>
            <a:r>
              <a:rPr lang="en-US" smtClean="0"/>
              <a:t>Click to edit Master text styles</a:t>
            </a:r>
          </a:p>
        </p:txBody>
      </p:sp>
    </p:spTree>
    <p:extLst>
      <p:ext uri="{BB962C8B-B14F-4D97-AF65-F5344CB8AC3E}">
        <p14:creationId xmlns:p14="http://schemas.microsoft.com/office/powerpoint/2010/main" val="36435670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36448" y="3044952"/>
            <a:ext cx="5340096" cy="1428661"/>
          </a:xfrm>
        </p:spPr>
        <p:txBody>
          <a:bodyPr/>
          <a:lstStyle>
            <a:lvl1pPr marL="0" indent="0">
              <a:defRPr sz="2000">
                <a:solidFill>
                  <a:schemeClr val="tx1"/>
                </a:solidFill>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3044952"/>
            <a:ext cx="5340096" cy="1428661"/>
          </a:xfrm>
        </p:spPr>
        <p:txBody>
          <a:bodyPr/>
          <a:lstStyle>
            <a:lvl1pPr marL="0" indent="0">
              <a:defRPr sz="20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329524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7694007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407989"/>
            <a:ext cx="11116733" cy="365125"/>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533400" y="1154113"/>
            <a:ext cx="11116733" cy="326243"/>
          </a:xfrm>
        </p:spPr>
        <p:txBody>
          <a:bodyPr/>
          <a:lstStyle/>
          <a:p>
            <a:pPr lvl="0"/>
            <a:r>
              <a:rPr lang="en-US" noProof="0" dirty="0" smtClean="0"/>
              <a:t>Click icon to add table</a:t>
            </a:r>
          </a:p>
        </p:txBody>
      </p:sp>
    </p:spTree>
    <p:extLst>
      <p:ext uri="{BB962C8B-B14F-4D97-AF65-F5344CB8AC3E}">
        <p14:creationId xmlns:p14="http://schemas.microsoft.com/office/powerpoint/2010/main" val="290165777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HP_223"/>
          <p:cNvSpPr txBox="1">
            <a:spLocks/>
          </p:cNvSpPr>
          <p:nvPr/>
        </p:nvSpPr>
        <p:spPr bwMode="auto">
          <a:xfrm>
            <a:off x="4440767" y="1019175"/>
            <a:ext cx="5340351" cy="1193800"/>
          </a:xfrm>
          <a:prstGeom prst="rect">
            <a:avLst/>
          </a:prstGeom>
        </p:spPr>
        <p:txBody>
          <a:bodyPr/>
          <a:lstStyle/>
          <a:p>
            <a:pPr marL="227013" lvl="1" indent="-225425" fontAlgn="base">
              <a:lnSpc>
                <a:spcPct val="106000"/>
              </a:lnSpc>
              <a:spcBef>
                <a:spcPct val="40000"/>
              </a:spcBef>
              <a:spcAft>
                <a:spcPct val="0"/>
              </a:spcAft>
              <a:buClr>
                <a:srgbClr val="000000"/>
              </a:buClr>
              <a:buFont typeface="Wingdings 2" pitchFamily="18" charset="2"/>
              <a:buChar char="¡"/>
              <a:defRPr/>
            </a:pPr>
            <a:r>
              <a:rPr lang="en-US" sz="2000" dirty="0">
                <a:solidFill>
                  <a:srgbClr val="000000"/>
                </a:solidFill>
                <a:cs typeface="Arial" charset="0"/>
              </a:rPr>
              <a:t>Bullet</a:t>
            </a:r>
          </a:p>
          <a:p>
            <a:pPr marL="342900" indent="-342900" fontAlgn="base">
              <a:lnSpc>
                <a:spcPct val="106000"/>
              </a:lnSpc>
              <a:spcBef>
                <a:spcPct val="40000"/>
              </a:spcBef>
              <a:spcAft>
                <a:spcPct val="0"/>
              </a:spcAft>
              <a:buClr>
                <a:srgbClr val="000000"/>
              </a:buClr>
              <a:buSzPct val="80000"/>
              <a:buFont typeface="Wingdings" pitchFamily="2" charset="2"/>
              <a:buNone/>
              <a:defRPr/>
            </a:pPr>
            <a:endParaRPr lang="en-US" sz="2000" dirty="0">
              <a:solidFill>
                <a:srgbClr val="000000"/>
              </a:solidFill>
              <a:cs typeface="Arial" charset="0"/>
            </a:endParaRPr>
          </a:p>
        </p:txBody>
      </p:sp>
    </p:spTree>
    <p:extLst>
      <p:ext uri="{BB962C8B-B14F-4D97-AF65-F5344CB8AC3E}">
        <p14:creationId xmlns:p14="http://schemas.microsoft.com/office/powerpoint/2010/main" val="11471607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524001" y="3019167"/>
            <a:ext cx="5484284" cy="366254"/>
          </a:xfrm>
          <a:prstGeom prst="rect">
            <a:avLst/>
          </a:prstGeom>
        </p:spPr>
        <p:txBody>
          <a:bodyPr anchor="b" anchorCtr="0">
            <a:spAutoFit/>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524001" y="3689351"/>
            <a:ext cx="5484284" cy="276999"/>
          </a:xfrm>
          <a:prstGeom prst="rect">
            <a:avLst/>
          </a:prstGeom>
        </p:spPr>
        <p:txBody>
          <a:bodyPr>
            <a:spAutoFit/>
          </a:bodyPr>
          <a:lstStyle>
            <a:lvl1pPr>
              <a:lnSpc>
                <a:spcPct val="100000"/>
              </a:lnSpc>
              <a:defRPr sz="18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39751" y="303214"/>
            <a:ext cx="2182283" cy="307975"/>
          </a:xfrm>
          <a:prstGeom prst="rect">
            <a:avLst/>
          </a:prstGeom>
          <a:noFill/>
        </p:spPr>
      </p:pic>
    </p:spTree>
    <p:extLst>
      <p:ext uri="{BB962C8B-B14F-4D97-AF65-F5344CB8AC3E}">
        <p14:creationId xmlns:p14="http://schemas.microsoft.com/office/powerpoint/2010/main" val="3461301371"/>
      </p:ext>
    </p:extLst>
  </p:cSld>
  <p:clrMapOvr>
    <a:masterClrMapping/>
  </p:clrMapOvr>
  <p:transition/>
  <p:hf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33400" y="1154113"/>
            <a:ext cx="11116733" cy="169520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62992916"/>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53"/>
            <a:ext cx="10972800" cy="29360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783358"/>
            <a:ext cx="5386755" cy="39151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755" cy="17955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703" y="1783358"/>
            <a:ext cx="5388708" cy="39151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703" y="2174875"/>
            <a:ext cx="5388708" cy="17955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2"/>
          <p:cNvSpPr>
            <a:spLocks noGrp="1" noChangeArrowheads="1"/>
          </p:cNvSpPr>
          <p:nvPr>
            <p:ph type="ftr" sz="quarter" idx="10"/>
          </p:nvPr>
        </p:nvSpPr>
        <p:spPr>
          <a:xfrm rot="16200000" flipH="1">
            <a:off x="10737057" y="6602149"/>
            <a:ext cx="2795587" cy="122767"/>
          </a:xfrm>
          <a:prstGeom prst="rect">
            <a:avLst/>
          </a:prstGeom>
          <a:ln/>
        </p:spPr>
        <p:txBody>
          <a:bodyPr/>
          <a:lstStyle>
            <a:lvl1pPr>
              <a:defRPr/>
            </a:lvl1pPr>
          </a:lstStyle>
          <a:p>
            <a:pPr fontAlgn="base">
              <a:spcBef>
                <a:spcPct val="0"/>
              </a:spcBef>
              <a:spcAft>
                <a:spcPct val="0"/>
              </a:spcAft>
              <a:defRPr/>
            </a:pPr>
            <a:r>
              <a:rPr lang="nl-NL" sz="2400" dirty="0">
                <a:solidFill>
                  <a:srgbClr val="000000"/>
                </a:solidFill>
                <a:cs typeface="Arial" pitchFamily="34" charset="0"/>
              </a:rPr>
              <a:t>Location/Filename/Unit/Author/Assistant (Change via 'View -  Header and Footer')</a:t>
            </a:r>
          </a:p>
        </p:txBody>
      </p:sp>
      <p:sp>
        <p:nvSpPr>
          <p:cNvPr id="8" name="Rectangle 53"/>
          <p:cNvSpPr>
            <a:spLocks noGrp="1" noChangeArrowheads="1"/>
          </p:cNvSpPr>
          <p:nvPr>
            <p:ph type="sldNum" sz="quarter" idx="11"/>
          </p:nvPr>
        </p:nvSpPr>
        <p:spPr>
          <a:xfrm>
            <a:off x="5901267" y="6632575"/>
            <a:ext cx="419100" cy="153988"/>
          </a:xfrm>
          <a:prstGeom prst="rect">
            <a:avLst/>
          </a:prstGeom>
          <a:ln/>
        </p:spPr>
        <p:txBody>
          <a:bodyPr/>
          <a:lstStyle>
            <a:lvl1pPr>
              <a:defRPr/>
            </a:lvl1pPr>
          </a:lstStyle>
          <a:p>
            <a:pPr fontAlgn="base">
              <a:spcBef>
                <a:spcPct val="0"/>
              </a:spcBef>
              <a:spcAft>
                <a:spcPct val="0"/>
              </a:spcAft>
              <a:defRPr/>
            </a:pPr>
            <a:r>
              <a:rPr lang="nl-NL" sz="2400">
                <a:solidFill>
                  <a:srgbClr val="000000"/>
                </a:solidFill>
                <a:cs typeface="Arial" pitchFamily="34" charset="0"/>
              </a:rPr>
              <a:t>- </a:t>
            </a:r>
            <a:fld id="{EF07D189-4FFF-4D13-95A0-19284FD146CB}" type="slidenum">
              <a:rPr lang="nl-NL" sz="2400">
                <a:solidFill>
                  <a:srgbClr val="000000"/>
                </a:solidFill>
                <a:cs typeface="Arial" pitchFamily="34" charset="0"/>
              </a:rPr>
              <a:pPr fontAlgn="base">
                <a:spcBef>
                  <a:spcPct val="0"/>
                </a:spcBef>
                <a:spcAft>
                  <a:spcPct val="0"/>
                </a:spcAft>
                <a:defRPr/>
              </a:pPr>
              <a:t>‹#›</a:t>
            </a:fld>
            <a:r>
              <a:rPr lang="nl-NL" sz="2400">
                <a:solidFill>
                  <a:srgbClr val="000000"/>
                </a:solidFill>
                <a:cs typeface="Arial" pitchFamily="34" charset="0"/>
              </a:rPr>
              <a:t> -</a:t>
            </a:r>
          </a:p>
        </p:txBody>
      </p:sp>
    </p:spTree>
    <p:extLst>
      <p:ext uri="{BB962C8B-B14F-4D97-AF65-F5344CB8AC3E}">
        <p14:creationId xmlns:p14="http://schemas.microsoft.com/office/powerpoint/2010/main" val="2559319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21932712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450279"/>
            <a:ext cx="11106912"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2153929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11136461" cy="326243"/>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516271"/>
            <a:ext cx="11131296" cy="260969"/>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77725983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781051" y="774700"/>
            <a:ext cx="10629900"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95" t="1778" b="59770"/>
          <a:stretch>
            <a:fillRect/>
          </a:stretch>
        </p:blipFill>
        <p:spPr bwMode="gray">
          <a:xfrm>
            <a:off x="1193801" y="6026150"/>
            <a:ext cx="1926167" cy="274638"/>
          </a:xfrm>
          <a:prstGeom prst="rect">
            <a:avLst/>
          </a:prstGeom>
          <a:noFill/>
          <a:ln w="9525">
            <a:noFill/>
            <a:miter lim="800000"/>
            <a:headEnd/>
            <a:tailEnd/>
          </a:ln>
        </p:spPr>
      </p:pic>
      <p:sp>
        <p:nvSpPr>
          <p:cNvPr id="3700739" name="Rectangle 3"/>
          <p:cNvSpPr>
            <a:spLocks noGrp="1" noChangeArrowheads="1"/>
          </p:cNvSpPr>
          <p:nvPr>
            <p:ph type="ctrTitle" sz="quarter"/>
          </p:nvPr>
        </p:nvSpPr>
        <p:spPr>
          <a:xfrm>
            <a:off x="1189567" y="2848422"/>
            <a:ext cx="8775700" cy="282129"/>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1189568" y="3402014"/>
            <a:ext cx="8777817"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234468064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2328672" y="2368296"/>
            <a:ext cx="7510272"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200564749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p>
            <a:pPr lvl="0"/>
            <a:r>
              <a:rPr lang="en-US" smtClean="0"/>
              <a:t>Click to edit Master text styles</a:t>
            </a:r>
          </a:p>
        </p:txBody>
      </p:sp>
    </p:spTree>
    <p:extLst>
      <p:ext uri="{BB962C8B-B14F-4D97-AF65-F5344CB8AC3E}">
        <p14:creationId xmlns:p14="http://schemas.microsoft.com/office/powerpoint/2010/main" val="428339238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524257" y="514351"/>
            <a:ext cx="11127316"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3007593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3304118" y="2136775"/>
            <a:ext cx="5556249"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3852672" y="3081528"/>
            <a:ext cx="4462272"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7261619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13395631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43272990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5618376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4" y="1818068"/>
            <a:ext cx="3748097"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65171115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6315456" y="1399032"/>
            <a:ext cx="5352288"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399032"/>
            <a:ext cx="5352288"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860731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340352" y="1399032"/>
            <a:ext cx="347472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399032"/>
            <a:ext cx="347472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8168640" y="1399032"/>
            <a:ext cx="347472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911543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5352288"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315456" y="1399032"/>
            <a:ext cx="5352288"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524256" y="4041648"/>
            <a:ext cx="534009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4009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1964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340352"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8168640"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524256"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340352"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8168640"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517174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56906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3851184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620256"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620256"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1060704" y="453542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1060704" y="561441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6620256"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6620256" y="453542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6620256" y="561441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6287000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8519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8519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384366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32841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613257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893673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651929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43072"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5949696"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524256" y="4709160"/>
            <a:ext cx="534009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4709160"/>
            <a:ext cx="534009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8668512"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50092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1" y="319067"/>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99014006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6315456" y="1399032"/>
            <a:ext cx="5340096"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40096"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51413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524256"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4346448"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8168640"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939071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524256" y="4864608"/>
            <a:ext cx="5340096"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315456" y="4864608"/>
            <a:ext cx="5340096"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6185356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524256" y="1709928"/>
            <a:ext cx="4047744"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8871233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898648"/>
            <a:ext cx="5352288"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898648"/>
            <a:ext cx="5352288"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216277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6315456" y="1152144"/>
            <a:ext cx="5352288"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46624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697480"/>
            <a:ext cx="5340096"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697480"/>
            <a:ext cx="5340096"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926336" y="1399033"/>
            <a:ext cx="3925824" cy="611834"/>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717536" y="1399033"/>
            <a:ext cx="3925824" cy="611834"/>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145449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697480"/>
            <a:ext cx="5340096"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697480"/>
            <a:ext cx="5340096"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926336" y="1399032"/>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717536" y="1399032"/>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524256" y="5202936"/>
            <a:ext cx="5340096"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6315456" y="5202936"/>
            <a:ext cx="5340096"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926336" y="3904488"/>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7717536" y="3904488"/>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521831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792224" y="1097281"/>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559040" y="1097281"/>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792224" y="2414017"/>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7571232" y="2414017"/>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792224" y="3739896"/>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7717536" y="3739896"/>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792224" y="5056633"/>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7571232" y="5056633"/>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7285425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315456" y="1399032"/>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524256" y="4041648"/>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91959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1" y="319067"/>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17660825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94067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1056218" y="1177925"/>
            <a:ext cx="5340349" cy="1023938"/>
          </a:xfrm>
          <a:prstGeom prst="rect">
            <a:avLst/>
          </a:prstGeom>
        </p:spPr>
        <p:txBody>
          <a:bodyPr/>
          <a:lstStyle/>
          <a:p>
            <a:pPr marL="169863" lvl="1" indent="-168275" fontAlgn="base">
              <a:lnSpc>
                <a:spcPct val="106000"/>
              </a:lnSpc>
              <a:spcBef>
                <a:spcPct val="80000"/>
              </a:spcBef>
              <a:spcAft>
                <a:spcPct val="0"/>
              </a:spcAft>
              <a:buClr>
                <a:srgbClr val="000000"/>
              </a:buClr>
              <a:buFont typeface="Wingdings 2" pitchFamily="18" charset="2"/>
              <a:buChar char="¡"/>
              <a:defRPr/>
            </a:pPr>
            <a:r>
              <a:rPr lang="en-US" sz="1100" dirty="0">
                <a:solidFill>
                  <a:srgbClr val="000000"/>
                </a:solidFill>
                <a:cs typeface="Arial" charset="0"/>
              </a:rPr>
              <a:t>Bullet</a:t>
            </a:r>
          </a:p>
        </p:txBody>
      </p:sp>
    </p:spTree>
    <p:extLst>
      <p:ext uri="{BB962C8B-B14F-4D97-AF65-F5344CB8AC3E}">
        <p14:creationId xmlns:p14="http://schemas.microsoft.com/office/powerpoint/2010/main" val="313005956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352477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189559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321981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552981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060253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250801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731763" y="5158686"/>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1406142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52451" y="557865"/>
            <a:ext cx="11106912" cy="221599"/>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92494955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3696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87680" y="2778756"/>
            <a:ext cx="3694176"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userDrawn="1"/>
        </p:nvPicPr>
        <p:blipFill>
          <a:blip r:embed="rId2" cstate="print"/>
          <a:stretch>
            <a:fillRect/>
          </a:stretch>
        </p:blipFill>
        <p:spPr>
          <a:xfrm>
            <a:off x="434645" y="399577"/>
            <a:ext cx="2294400" cy="322531"/>
          </a:xfrm>
          <a:prstGeom prst="rect">
            <a:avLst/>
          </a:prstGeom>
        </p:spPr>
      </p:pic>
    </p:spTree>
    <p:extLst>
      <p:ext uri="{BB962C8B-B14F-4D97-AF65-F5344CB8AC3E}">
        <p14:creationId xmlns:p14="http://schemas.microsoft.com/office/powerpoint/2010/main" val="2815452276"/>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7681" y="319067"/>
            <a:ext cx="9126791"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2535060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4"/>
            <a:ext cx="11184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12925"/>
            <a:ext cx="11184000" cy="4545033"/>
          </a:xfrm>
        </p:spPr>
        <p:txBody>
          <a:bodyPr/>
          <a:lstStyle>
            <a:lvl1pPr marL="0" indent="0" algn="l">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6" y="6407835"/>
            <a:ext cx="10079297" cy="252000"/>
          </a:xfrm>
          <a:prstGeom prst="rect">
            <a:avLst/>
          </a:prstGeom>
        </p:spPr>
        <p:txBody>
          <a:bodyPr vert="horz" lIns="0" tIns="0" rIns="0" bIns="0" rtlCol="0" anchor="ctr" anchorCtr="0"/>
          <a:lstStyle>
            <a:lvl1pPr algn="l">
              <a:defRPr sz="800" b="0">
                <a:solidFill>
                  <a:srgbClr val="8C8C8C"/>
                </a:solidFill>
              </a:defRPr>
            </a:lvl1pPr>
          </a:lstStyle>
          <a:p>
            <a:pPr fontAlgn="base">
              <a:spcBef>
                <a:spcPct val="0"/>
              </a:spcBef>
              <a:spcAft>
                <a:spcPct val="0"/>
              </a:spcAft>
            </a:pPr>
            <a:r>
              <a:rPr lang="en-GB" dirty="0" smtClean="0">
                <a:cs typeface="Arial" charset="0"/>
              </a:rPr>
              <a:t>Member Firms and DTTL: Insert appropriate copyright (Go Header &amp; Footer to edit this text)</a:t>
            </a:r>
            <a:endParaRPr lang="en-GB" dirty="0">
              <a:cs typeface="Arial" charset="0"/>
            </a:endParaRPr>
          </a:p>
        </p:txBody>
      </p:sp>
      <p:sp>
        <p:nvSpPr>
          <p:cNvPr id="6" name="Slide Number Placeholder 7"/>
          <p:cNvSpPr>
            <a:spLocks noGrp="1"/>
          </p:cNvSpPr>
          <p:nvPr>
            <p:ph type="sldNum" sz="quarter" idx="4"/>
          </p:nvPr>
        </p:nvSpPr>
        <p:spPr>
          <a:xfrm>
            <a:off x="10629330" y="6407835"/>
            <a:ext cx="1056117" cy="252000"/>
          </a:xfrm>
          <a:prstGeom prst="rect">
            <a:avLst/>
          </a:prstGeom>
        </p:spPr>
        <p:txBody>
          <a:bodyPr vert="horz" lIns="0" tIns="0" rIns="0" bIns="0" rtlCol="0" anchor="ctr" anchorCtr="0"/>
          <a:lstStyle>
            <a:lvl1pPr algn="r">
              <a:defRPr sz="800" b="0">
                <a:solidFill>
                  <a:srgbClr val="8C8C8C"/>
                </a:solidFill>
              </a:defRPr>
            </a:lvl1pPr>
          </a:lstStyle>
          <a:p>
            <a:pPr fontAlgn="base">
              <a:spcBef>
                <a:spcPct val="0"/>
              </a:spcBef>
              <a:spcAft>
                <a:spcPct val="0"/>
              </a:spcAft>
            </a:pPr>
            <a:fld id="{95CC1D26-A9BD-4BDE-BDD9-08EDBAE96860}" type="slidenum">
              <a:rPr lang="en-GB" smtClean="0">
                <a:cs typeface="Arial" charset="0"/>
              </a:rPr>
              <a:pPr fontAlgn="base">
                <a:spcBef>
                  <a:spcPct val="0"/>
                </a:spcBef>
                <a:spcAft>
                  <a:spcPct val="0"/>
                </a:spcAft>
              </a:pPr>
              <a:t>‹#›</a:t>
            </a:fld>
            <a:endParaRPr lang="en-GB" dirty="0">
              <a:cs typeface="Arial" charset="0"/>
            </a:endParaRPr>
          </a:p>
        </p:txBody>
      </p:sp>
    </p:spTree>
    <p:extLst>
      <p:ext uri="{BB962C8B-B14F-4D97-AF65-F5344CB8AC3E}">
        <p14:creationId xmlns:p14="http://schemas.microsoft.com/office/powerpoint/2010/main" val="592790545"/>
      </p:ext>
    </p:extLst>
  </p:cSld>
  <p:clrMapOvr>
    <a:masterClrMapping/>
  </p:clrMapOvr>
  <p:transition>
    <p:fade/>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41867" y="1155700"/>
            <a:ext cx="11119104" cy="5138928"/>
          </a:xfrm>
        </p:spPr>
        <p:txBody>
          <a:bodyPr/>
          <a:lstStyle>
            <a:lvl1pPr>
              <a:buNone/>
              <a:defRPr/>
            </a:lvl1pPr>
            <a:lvl3pPr>
              <a:defRPr sz="1600"/>
            </a:lvl3pPr>
            <a:lvl4pP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Title 1"/>
          <p:cNvSpPr>
            <a:spLocks noGrp="1"/>
          </p:cNvSpPr>
          <p:nvPr>
            <p:ph type="title"/>
          </p:nvPr>
        </p:nvSpPr>
        <p:spPr>
          <a:xfrm>
            <a:off x="535518" y="381597"/>
            <a:ext cx="11127316" cy="391517"/>
          </a:xfr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578510612"/>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535517" y="803275"/>
            <a:ext cx="11114616" cy="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1100" dirty="0">
              <a:solidFill>
                <a:srgbClr val="000000"/>
              </a:solidFill>
              <a:cs typeface="Arial" charset="0"/>
            </a:endParaRPr>
          </a:p>
        </p:txBody>
      </p:sp>
      <p:sp>
        <p:nvSpPr>
          <p:cNvPr id="2" name="Title 1"/>
          <p:cNvSpPr>
            <a:spLocks noGrp="1"/>
          </p:cNvSpPr>
          <p:nvPr>
            <p:ph type="title"/>
          </p:nvPr>
        </p:nvSpPr>
        <p:spPr>
          <a:xfrm>
            <a:off x="535518" y="381597"/>
            <a:ext cx="11127316" cy="391517"/>
          </a:xfrm>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33400" y="1155700"/>
            <a:ext cx="11116733" cy="5137150"/>
          </a:xfrm>
        </p:spPr>
        <p:txBody>
          <a:bodyPr/>
          <a:lstStyle>
            <a:lvl1pPr>
              <a:defRPr sz="1800"/>
            </a:lvl1pPr>
          </a:lstStyle>
          <a:p>
            <a:pPr lvl="0"/>
            <a:r>
              <a:rPr lang="en-US" smtClean="0"/>
              <a:t>Click to edit Master text styles</a:t>
            </a:r>
          </a:p>
        </p:txBody>
      </p:sp>
      <p:sp>
        <p:nvSpPr>
          <p:cNvPr id="6" name="Text Box 5"/>
          <p:cNvSpPr txBox="1">
            <a:spLocks noChangeArrowheads="1"/>
          </p:cNvSpPr>
          <p:nvPr userDrawn="1"/>
        </p:nvSpPr>
        <p:spPr bwMode="invGray">
          <a:xfrm>
            <a:off x="5908705" y="6617792"/>
            <a:ext cx="376706" cy="195759"/>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fontAlgn="base">
              <a:lnSpc>
                <a:spcPct val="106000"/>
              </a:lnSpc>
              <a:spcBef>
                <a:spcPct val="0"/>
              </a:spcBef>
              <a:spcAft>
                <a:spcPct val="0"/>
              </a:spcAft>
              <a:buClr>
                <a:srgbClr val="000000"/>
              </a:buClr>
              <a:buSzPct val="65000"/>
              <a:buFont typeface="Wingdings" pitchFamily="2" charset="2"/>
              <a:buNone/>
            </a:pPr>
            <a:r>
              <a:rPr lang="en-US" sz="1200" dirty="0">
                <a:solidFill>
                  <a:srgbClr val="000000"/>
                </a:solidFill>
              </a:rPr>
              <a:t>- </a:t>
            </a:r>
            <a:fld id="{A638AD9D-C9EE-4A93-8904-756488E3458A}" type="slidenum">
              <a:rPr lang="en-US" sz="1200">
                <a:solidFill>
                  <a:srgbClr val="000000"/>
                </a:solidFill>
              </a:rPr>
              <a:pPr algn="ctr" fontAlgn="base">
                <a:lnSpc>
                  <a:spcPct val="106000"/>
                </a:lnSpc>
                <a:spcBef>
                  <a:spcPct val="0"/>
                </a:spcBef>
                <a:spcAft>
                  <a:spcPct val="0"/>
                </a:spcAft>
                <a:buClr>
                  <a:srgbClr val="000000"/>
                </a:buClr>
                <a:buSzPct val="65000"/>
                <a:buFont typeface="Wingdings" pitchFamily="2" charset="2"/>
                <a:buNone/>
              </a:pPr>
              <a:t>‹#›</a:t>
            </a:fld>
            <a:r>
              <a:rPr lang="en-US" sz="1200" dirty="0">
                <a:solidFill>
                  <a:srgbClr val="000000"/>
                </a:solidFill>
              </a:rPr>
              <a:t> -</a:t>
            </a:r>
          </a:p>
        </p:txBody>
      </p:sp>
    </p:spTree>
    <p:extLst>
      <p:ext uri="{BB962C8B-B14F-4D97-AF65-F5344CB8AC3E}">
        <p14:creationId xmlns:p14="http://schemas.microsoft.com/office/powerpoint/2010/main" val="268646246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557865"/>
            <a:ext cx="11106912" cy="221599"/>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91479925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Charts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460857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385723"/>
            <a:ext cx="11119104" cy="391517"/>
          </a:xfrm>
          <a:prstGeom prst="rect">
            <a:avLst/>
          </a:prstGeom>
        </p:spPr>
        <p:txBody>
          <a:bodyPr/>
          <a:lstStyle>
            <a:lvl1pPr>
              <a:defRPr sz="2400"/>
            </a:lvl1pPr>
          </a:lstStyle>
          <a:p>
            <a:r>
              <a:rPr lang="en-US" smtClean="0"/>
              <a:t>Click to edit Master title style</a:t>
            </a:r>
            <a:endParaRPr lang="en-US" dirty="0"/>
          </a:p>
        </p:txBody>
      </p:sp>
      <p:sp>
        <p:nvSpPr>
          <p:cNvPr id="8" name="Chart Placeholder 7"/>
          <p:cNvSpPr>
            <a:spLocks noGrp="1"/>
          </p:cNvSpPr>
          <p:nvPr>
            <p:ph type="chart" sz="quarter" idx="15"/>
          </p:nvPr>
        </p:nvSpPr>
        <p:spPr>
          <a:xfrm>
            <a:off x="524256" y="1728216"/>
            <a:ext cx="5291328" cy="3986784"/>
          </a:xfrm>
        </p:spPr>
        <p:txBody>
          <a:bodyPr/>
          <a:lstStyle>
            <a:lvl1pPr>
              <a:buNone/>
              <a:defRPr/>
            </a:lvl1pPr>
          </a:lstStyle>
          <a:p>
            <a:pPr lvl="0"/>
            <a:r>
              <a:rPr lang="en-US" noProof="0" dirty="0" smtClean="0"/>
              <a:t>Click icon to add chart</a:t>
            </a:r>
          </a:p>
        </p:txBody>
      </p:sp>
    </p:spTree>
    <p:extLst>
      <p:ext uri="{BB962C8B-B14F-4D97-AF65-F5344CB8AC3E}">
        <p14:creationId xmlns:p14="http://schemas.microsoft.com/office/powerpoint/2010/main" val="211159810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5" y="801550"/>
            <a:ext cx="11184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4" name="Title Placeholder 1"/>
          <p:cNvSpPr>
            <a:spLocks noGrp="1"/>
          </p:cNvSpPr>
          <p:nvPr>
            <p:ph type="title"/>
          </p:nvPr>
        </p:nvSpPr>
        <p:spPr>
          <a:xfrm>
            <a:off x="493485" y="332058"/>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28800"/>
            <a:ext cx="11184000" cy="445112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6" y="6408001"/>
            <a:ext cx="10079297" cy="252001"/>
          </a:xfrm>
          <a:prstGeom prst="rect">
            <a:avLst/>
          </a:prstGeom>
        </p:spPr>
        <p:txBody>
          <a:bodyPr vert="horz" lIns="0" tIns="0" rIns="0" bIns="0" rtlCol="0" anchor="ctr" anchorCtr="0"/>
          <a:lstStyle>
            <a:lvl1pPr algn="l">
              <a:defRPr sz="800" b="0">
                <a:solidFill>
                  <a:schemeClr val="tx2"/>
                </a:solidFill>
              </a:defRPr>
            </a:lvl1pPr>
          </a:lstStyle>
          <a:p>
            <a:pPr fontAlgn="base">
              <a:spcBef>
                <a:spcPct val="0"/>
              </a:spcBef>
              <a:spcAft>
                <a:spcPct val="0"/>
              </a:spcAft>
            </a:pPr>
            <a:r>
              <a:rPr lang="en-GB" dirty="0" smtClean="0">
                <a:solidFill>
                  <a:srgbClr val="313131"/>
                </a:solidFill>
                <a:cs typeface="Arial" charset="0"/>
              </a:rPr>
              <a:t>Member Firms and DTTL: Insert appropriate copyright (Go Header &amp; Footer to edit this text)</a:t>
            </a:r>
            <a:endParaRPr lang="en-GB" dirty="0">
              <a:solidFill>
                <a:srgbClr val="313131"/>
              </a:solidFill>
              <a:cs typeface="Arial" charset="0"/>
            </a:endParaRPr>
          </a:p>
        </p:txBody>
      </p:sp>
      <p:sp>
        <p:nvSpPr>
          <p:cNvPr id="6" name="Slide Number Placeholder 7"/>
          <p:cNvSpPr>
            <a:spLocks noGrp="1"/>
          </p:cNvSpPr>
          <p:nvPr>
            <p:ph type="sldNum" sz="quarter" idx="4"/>
          </p:nvPr>
        </p:nvSpPr>
        <p:spPr>
          <a:xfrm>
            <a:off x="10629328" y="6408001"/>
            <a:ext cx="1056117" cy="252001"/>
          </a:xfrm>
          <a:prstGeom prst="rect">
            <a:avLst/>
          </a:prstGeom>
        </p:spPr>
        <p:txBody>
          <a:bodyPr vert="horz" lIns="0" tIns="0" rIns="0" bIns="0" rtlCol="0" anchor="ctr" anchorCtr="0"/>
          <a:lstStyle>
            <a:lvl1pPr algn="r">
              <a:defRPr sz="800" b="0">
                <a:solidFill>
                  <a:schemeClr val="tx2"/>
                </a:solidFill>
              </a:defRPr>
            </a:lvl1pPr>
          </a:lstStyle>
          <a:p>
            <a:pPr fontAlgn="base">
              <a:spcBef>
                <a:spcPct val="0"/>
              </a:spcBef>
              <a:spcAft>
                <a:spcPct val="0"/>
              </a:spcAft>
            </a:pPr>
            <a:fld id="{95CC1D26-A9BD-4BDE-BDD9-08EDBAE96860}" type="slidenum">
              <a:rPr lang="en-GB" smtClean="0">
                <a:solidFill>
                  <a:srgbClr val="313131"/>
                </a:solidFill>
                <a:cs typeface="Arial" charset="0"/>
              </a:rPr>
              <a:pPr fontAlgn="base">
                <a:spcBef>
                  <a:spcPct val="0"/>
                </a:spcBef>
                <a:spcAft>
                  <a:spcPct val="0"/>
                </a:spcAft>
              </a:pPr>
              <a:t>‹#›</a:t>
            </a:fld>
            <a:endParaRPr lang="en-GB" dirty="0">
              <a:solidFill>
                <a:srgbClr val="313131"/>
              </a:solidFill>
              <a:cs typeface="Arial" charset="0"/>
            </a:endParaRPr>
          </a:p>
        </p:txBody>
      </p:sp>
    </p:spTree>
    <p:extLst>
      <p:ext uri="{BB962C8B-B14F-4D97-AF65-F5344CB8AC3E}">
        <p14:creationId xmlns:p14="http://schemas.microsoft.com/office/powerpoint/2010/main" val="271864125"/>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1828801"/>
            <a:ext cx="11184000" cy="4451121"/>
          </a:xfrm>
        </p:spPr>
        <p:txBody>
          <a:bodyPr/>
          <a:lstStyle>
            <a:lvl1pPr marL="0" indent="0">
              <a:spcBef>
                <a:spcPts val="0"/>
              </a:spcBef>
              <a:buNone/>
              <a:defRPr b="1"/>
            </a:lvl1pPr>
            <a:lvl2pPr marL="158098" indent="-158098">
              <a:spcBef>
                <a:spcPts val="0"/>
              </a:spcBef>
              <a:buFont typeface="Arial" pitchFamily="34" charset="0"/>
              <a:buChar char="•"/>
              <a:tabLst/>
              <a:defRPr/>
            </a:lvl2pPr>
            <a:lvl3pPr marL="158098" indent="-158098">
              <a:spcBef>
                <a:spcPts val="0"/>
              </a:spcBef>
              <a:buFont typeface="Arial" pitchFamily="34" charset="0"/>
              <a:buChar char="•"/>
              <a:defRPr i="1"/>
            </a:lvl3pPr>
            <a:lvl4pPr marL="323318" indent="-165219">
              <a:spcBef>
                <a:spcPts val="0"/>
              </a:spcBef>
              <a:buFont typeface="Arial" pitchFamily="34" charset="0"/>
              <a:buChar char="−"/>
              <a:defRPr i="0"/>
            </a:lvl4pPr>
            <a:lvl5pPr marL="482840" indent="-159522">
              <a:spcBef>
                <a:spcPts val="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93485" y="332058"/>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93485" y="801550"/>
            <a:ext cx="11184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10629328" y="6408001"/>
            <a:ext cx="1056117" cy="252001"/>
          </a:xfrm>
          <a:prstGeom prst="rect">
            <a:avLst/>
          </a:prstGeom>
        </p:spPr>
        <p:txBody>
          <a:bodyPr vert="horz" lIns="0" tIns="0" rIns="0" bIns="0" rtlCol="0" anchor="ctr" anchorCtr="0"/>
          <a:lstStyle>
            <a:lvl1pPr algn="r">
              <a:defRPr sz="800" b="0">
                <a:solidFill>
                  <a:schemeClr val="tx2"/>
                </a:solidFill>
              </a:defRPr>
            </a:lvl1pPr>
          </a:lstStyle>
          <a:p>
            <a:pPr fontAlgn="base">
              <a:spcBef>
                <a:spcPct val="0"/>
              </a:spcBef>
              <a:spcAft>
                <a:spcPct val="0"/>
              </a:spcAft>
            </a:pPr>
            <a:fld id="{95CC1D26-A9BD-4BDE-BDD9-08EDBAE96860}" type="slidenum">
              <a:rPr lang="en-GB" smtClean="0">
                <a:solidFill>
                  <a:srgbClr val="4066B2"/>
                </a:solidFill>
                <a:cs typeface="Arial" charset="0"/>
              </a:rPr>
              <a:pPr fontAlgn="base">
                <a:spcBef>
                  <a:spcPct val="0"/>
                </a:spcBef>
                <a:spcAft>
                  <a:spcPct val="0"/>
                </a:spcAft>
              </a:pPr>
              <a:t>‹#›</a:t>
            </a:fld>
            <a:endParaRPr lang="en-GB" dirty="0">
              <a:solidFill>
                <a:srgbClr val="4066B2"/>
              </a:solidFill>
              <a:cs typeface="Arial" charset="0"/>
            </a:endParaRPr>
          </a:p>
        </p:txBody>
      </p:sp>
      <p:sp>
        <p:nvSpPr>
          <p:cNvPr id="7" name="Footer Placeholder 4"/>
          <p:cNvSpPr>
            <a:spLocks noGrp="1"/>
          </p:cNvSpPr>
          <p:nvPr>
            <p:ph type="ftr" sz="quarter" idx="3"/>
          </p:nvPr>
        </p:nvSpPr>
        <p:spPr>
          <a:xfrm>
            <a:off x="493486" y="6408001"/>
            <a:ext cx="10079297" cy="252001"/>
          </a:xfrm>
          <a:prstGeom prst="rect">
            <a:avLst/>
          </a:prstGeom>
        </p:spPr>
        <p:txBody>
          <a:bodyPr vert="horz" lIns="0" tIns="0" rIns="0" bIns="0" rtlCol="0" anchor="ctr" anchorCtr="0"/>
          <a:lstStyle>
            <a:lvl1pPr algn="l">
              <a:defRPr sz="800" b="0">
                <a:solidFill>
                  <a:schemeClr val="tx2"/>
                </a:solidFill>
              </a:defRPr>
            </a:lvl1pPr>
          </a:lstStyle>
          <a:p>
            <a:pPr fontAlgn="base">
              <a:spcBef>
                <a:spcPct val="0"/>
              </a:spcBef>
              <a:spcAft>
                <a:spcPct val="0"/>
              </a:spcAft>
            </a:pPr>
            <a:r>
              <a:rPr lang="en-GB" dirty="0" smtClean="0">
                <a:solidFill>
                  <a:srgbClr val="4066B2"/>
                </a:solidFill>
                <a:cs typeface="Arial" charset="0"/>
              </a:rPr>
              <a:t>Member Firms and DTTL: Insert appropriate copyright (Go Header &amp; Footer to edit this text)</a:t>
            </a:r>
            <a:endParaRPr lang="en-GB" dirty="0">
              <a:solidFill>
                <a:srgbClr val="4066B2"/>
              </a:solidFill>
              <a:cs typeface="Arial" charset="0"/>
            </a:endParaRPr>
          </a:p>
        </p:txBody>
      </p:sp>
    </p:spTree>
    <p:extLst>
      <p:ext uri="{BB962C8B-B14F-4D97-AF65-F5344CB8AC3E}">
        <p14:creationId xmlns:p14="http://schemas.microsoft.com/office/powerpoint/2010/main" val="1615869785"/>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339482"/>
            <a:ext cx="10363200" cy="260969"/>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433955504"/>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35651301"/>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5248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95451466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196" y="3904489"/>
            <a:ext cx="2294400" cy="322531"/>
          </a:xfrm>
          <a:prstGeom prst="rect">
            <a:avLst/>
          </a:prstGeom>
        </p:spPr>
      </p:pic>
    </p:spTree>
    <p:extLst>
      <p:ext uri="{BB962C8B-B14F-4D97-AF65-F5344CB8AC3E}">
        <p14:creationId xmlns:p14="http://schemas.microsoft.com/office/powerpoint/2010/main" val="375975620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9168" y="1154113"/>
            <a:ext cx="2569633"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302001" y="1154113"/>
            <a:ext cx="2571751"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07688912"/>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56669"/>
            <a:ext cx="10972800" cy="26096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22930958"/>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5845155"/>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359460"/>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08857"/>
            <a:ext cx="4011084" cy="326243"/>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36162309"/>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41095"/>
            <a:ext cx="7315200" cy="326243"/>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03383165"/>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2437787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75185" y="514351"/>
            <a:ext cx="260969" cy="57753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29168" y="514351"/>
            <a:ext cx="8142817" cy="57753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82993441"/>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29167" y="514351"/>
            <a:ext cx="11127317" cy="2587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29167" y="1154113"/>
            <a:ext cx="5344584" cy="5135562"/>
          </a:xfrm>
        </p:spPr>
        <p:txBody>
          <a:bodyPr/>
          <a:lstStyle/>
          <a:p>
            <a:pPr lvl="0"/>
            <a:endParaRPr lang="en-US" noProof="0" dirty="0" smtClean="0"/>
          </a:p>
        </p:txBody>
      </p:sp>
    </p:spTree>
    <p:extLst>
      <p:ext uri="{BB962C8B-B14F-4D97-AF65-F5344CB8AC3E}">
        <p14:creationId xmlns:p14="http://schemas.microsoft.com/office/powerpoint/2010/main" val="2479857067"/>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41867" y="1155700"/>
            <a:ext cx="11119104" cy="5138928"/>
          </a:xfrm>
        </p:spPr>
        <p:txBody>
          <a:bodyPr/>
          <a:lstStyle>
            <a:lvl1pPr>
              <a:buNone/>
              <a:defRPr/>
            </a:lvl1pPr>
            <a:lvl3pPr>
              <a:defRPr sz="1600"/>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1"/>
          <p:cNvSpPr>
            <a:spLocks noGrp="1"/>
          </p:cNvSpPr>
          <p:nvPr>
            <p:ph type="title"/>
          </p:nvPr>
        </p:nvSpPr>
        <p:spPr>
          <a:xfrm>
            <a:off x="529167" y="381597"/>
            <a:ext cx="11127317" cy="391517"/>
          </a:xfr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666463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589198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48639" y="1873248"/>
            <a:ext cx="5332207"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552451" y="1397001"/>
            <a:ext cx="5327904" cy="276999"/>
          </a:xfrm>
          <a:prstGeom prst="rect">
            <a:avLst/>
          </a:prstGeom>
        </p:spPr>
        <p:txBody>
          <a:bodyPr>
            <a:spAutoFit/>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548639" y="6153912"/>
            <a:ext cx="5327904"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6317128" y="6153912"/>
            <a:ext cx="5327904" cy="128016"/>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552451" y="450279"/>
            <a:ext cx="11106912" cy="329184"/>
          </a:xfrm>
          <a:prstGeom prst="rect">
            <a:avLst/>
          </a:prstGeom>
        </p:spPr>
        <p:txBody>
          <a:bodyPr lIns="0" tIns="0" rIns="0" bIns="0" anchor="b" anchorCtr="0">
            <a:spAutoFit/>
          </a:bodyPr>
          <a:lstStyle>
            <a:lvl1pPr algn="l" rtl="0" eaLnBrk="1" fontAlgn="base" hangingPunct="1">
              <a:lnSpc>
                <a:spcPts val="2600"/>
              </a:lnSpc>
              <a:spcBef>
                <a:spcPct val="0"/>
              </a:spcBef>
              <a:spcAft>
                <a:spcPct val="0"/>
              </a:spcAft>
              <a:defRPr kumimoji="0" lang="en-US" sz="2400" b="1" i="0" u="none" strike="noStrike" kern="1200" cap="none" spc="0" normalizeH="0" baseline="0" noProof="0" dirty="0">
                <a:ln>
                  <a:noFill/>
                </a:ln>
                <a:solidFill>
                  <a:srgbClr val="92D050"/>
                </a:solidFill>
                <a:effectLst/>
                <a:uLnTx/>
                <a:uFillTx/>
                <a:latin typeface="+mj-lt"/>
                <a:ea typeface="+mj-ea"/>
                <a:cs typeface="+mj-cs"/>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299201" y="1873248"/>
            <a:ext cx="5332207" cy="4280808"/>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6303012" y="1397001"/>
            <a:ext cx="5327904" cy="276999"/>
          </a:xfrm>
          <a:prstGeom prst="rect">
            <a:avLst/>
          </a:prstGeom>
        </p:spPr>
        <p:txBody>
          <a:bodyPr>
            <a:spAutoFit/>
          </a:bodyPr>
          <a:lstStyle>
            <a:lvl1pPr>
              <a:defRPr sz="1800" b="1">
                <a:latin typeface="+mj-lt"/>
              </a:defRPr>
            </a:lvl1pPr>
          </a:lstStyle>
          <a:p>
            <a:pPr lvl="0"/>
            <a:r>
              <a:rPr lang="en-US" smtClean="0"/>
              <a:t>Click to edit Master text styles</a:t>
            </a:r>
          </a:p>
        </p:txBody>
      </p:sp>
    </p:spTree>
    <p:custDataLst>
      <p:tags r:id="rId1"/>
    </p:custDataLst>
    <p:extLst>
      <p:ext uri="{BB962C8B-B14F-4D97-AF65-F5344CB8AC3E}">
        <p14:creationId xmlns:p14="http://schemas.microsoft.com/office/powerpoint/2010/main" val="29871751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391665"/>
            <a:ext cx="11106912" cy="387798"/>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0085332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339482"/>
            <a:ext cx="10363200" cy="260969"/>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5267977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7124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5248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5205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9168" y="1154113"/>
            <a:ext cx="2569633"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302001" y="1154113"/>
            <a:ext cx="2571751"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505317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56669"/>
            <a:ext cx="10972800" cy="26096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19020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Rectangle 14"/>
          <p:cNvSpPr/>
          <p:nvPr userDrawn="1"/>
        </p:nvSpPr>
        <p:spPr>
          <a:xfrm>
            <a:off x="492088" y="-1"/>
            <a:ext cx="73152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72931" y="366584"/>
            <a:ext cx="2294400" cy="322531"/>
          </a:xfrm>
          <a:prstGeom prst="rect">
            <a:avLst/>
          </a:prstGeom>
        </p:spPr>
      </p:pic>
      <p:sp>
        <p:nvSpPr>
          <p:cNvPr id="2" name="Title 1"/>
          <p:cNvSpPr>
            <a:spLocks noGrp="1"/>
          </p:cNvSpPr>
          <p:nvPr>
            <p:ph type="ctrTitle"/>
          </p:nvPr>
        </p:nvSpPr>
        <p:spPr>
          <a:xfrm>
            <a:off x="829118" y="998068"/>
            <a:ext cx="6505141"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829118" y="1672132"/>
            <a:ext cx="6505141"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5054579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34491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712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08857"/>
            <a:ext cx="4011084" cy="326243"/>
          </a:xfrm>
        </p:spPr>
        <p:txBody>
          <a:bodyPr/>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35698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41095"/>
            <a:ext cx="7315200" cy="326243"/>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480750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53450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79417" y="514351"/>
            <a:ext cx="260969" cy="57753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29167" y="514351"/>
            <a:ext cx="8147051" cy="57753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1434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7"/>
          <p:cNvSpPr>
            <a:spLocks noChangeArrowheads="1"/>
          </p:cNvSpPr>
          <p:nvPr/>
        </p:nvSpPr>
        <p:spPr bwMode="gray">
          <a:xfrm>
            <a:off x="772584" y="815975"/>
            <a:ext cx="10684933" cy="4795838"/>
          </a:xfrm>
          <a:prstGeom prst="rect">
            <a:avLst/>
          </a:prstGeom>
          <a:solidFill>
            <a:schemeClr val="bg1"/>
          </a:solidFill>
          <a:ln w="12700" algn="ctr">
            <a:solidFill>
              <a:schemeClr val="accent1"/>
            </a:solidFill>
            <a:miter lim="800000"/>
            <a:headEnd/>
            <a:tailEnd/>
          </a:ln>
        </p:spPr>
        <p:txBody>
          <a:bodyPr lIns="90000" tIns="90000" rIns="90000" bIns="90000" anchor="ctr"/>
          <a:lstStyle/>
          <a:p>
            <a:pPr marL="119063" indent="-119063" eaLnBrk="0" fontAlgn="base" hangingPunct="0">
              <a:spcBef>
                <a:spcPct val="50000"/>
              </a:spcBef>
              <a:spcAft>
                <a:spcPct val="0"/>
              </a:spcAft>
            </a:pPr>
            <a:endParaRPr lang="en-GB" sz="1100" b="1" dirty="0" smtClean="0">
              <a:solidFill>
                <a:srgbClr val="000000"/>
              </a:solidFill>
            </a:endParaRPr>
          </a:p>
        </p:txBody>
      </p:sp>
      <p:sp>
        <p:nvSpPr>
          <p:cNvPr id="5" name="Text Box 15"/>
          <p:cNvSpPr txBox="1">
            <a:spLocks noChangeArrowheads="1"/>
          </p:cNvSpPr>
          <p:nvPr/>
        </p:nvSpPr>
        <p:spPr bwMode="gray">
          <a:xfrm>
            <a:off x="1189567" y="4756150"/>
            <a:ext cx="1606530"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lgn="ctr">
                <a:solidFill>
                  <a:srgbClr val="000000"/>
                </a:solidFill>
                <a:miter lim="800000"/>
                <a:headEnd/>
                <a:tailEnd/>
              </a14:hiddenLine>
            </a:ext>
          </a:extLst>
        </p:spPr>
        <p:txBody>
          <a:bodyPr wrap="none" lIns="0" tIns="0" rIns="0" bIns="0">
            <a:spAutoFit/>
          </a:bodyPr>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algn="ctr" eaLnBrk="0" fontAlgn="base" hangingPunct="0">
              <a:lnSpc>
                <a:spcPct val="106000"/>
              </a:lnSpc>
              <a:spcBef>
                <a:spcPct val="0"/>
              </a:spcBef>
              <a:spcAft>
                <a:spcPct val="0"/>
              </a:spcAft>
              <a:defRPr sz="1100" b="1">
                <a:solidFill>
                  <a:schemeClr val="tx1"/>
                </a:solidFill>
                <a:latin typeface="Arial" charset="0"/>
              </a:defRPr>
            </a:lvl6pPr>
            <a:lvl7pPr marL="2971800" indent="-228600" algn="ctr" eaLnBrk="0" fontAlgn="base" hangingPunct="0">
              <a:lnSpc>
                <a:spcPct val="106000"/>
              </a:lnSpc>
              <a:spcBef>
                <a:spcPct val="0"/>
              </a:spcBef>
              <a:spcAft>
                <a:spcPct val="0"/>
              </a:spcAft>
              <a:defRPr sz="1100" b="1">
                <a:solidFill>
                  <a:schemeClr val="tx1"/>
                </a:solidFill>
                <a:latin typeface="Arial" charset="0"/>
              </a:defRPr>
            </a:lvl7pPr>
            <a:lvl8pPr marL="3429000" indent="-228600" algn="ctr" eaLnBrk="0" fontAlgn="base" hangingPunct="0">
              <a:lnSpc>
                <a:spcPct val="106000"/>
              </a:lnSpc>
              <a:spcBef>
                <a:spcPct val="0"/>
              </a:spcBef>
              <a:spcAft>
                <a:spcPct val="0"/>
              </a:spcAft>
              <a:defRPr sz="1100" b="1">
                <a:solidFill>
                  <a:schemeClr val="tx1"/>
                </a:solidFill>
                <a:latin typeface="Arial" charset="0"/>
              </a:defRPr>
            </a:lvl8pPr>
            <a:lvl9pPr marL="3886200" indent="-228600" algn="ctr" eaLnBrk="0" fontAlgn="base" hangingPunct="0">
              <a:lnSpc>
                <a:spcPct val="106000"/>
              </a:lnSpc>
              <a:spcBef>
                <a:spcPct val="0"/>
              </a:spcBef>
              <a:spcAft>
                <a:spcPct val="0"/>
              </a:spcAft>
              <a:defRPr sz="1100" b="1">
                <a:solidFill>
                  <a:schemeClr val="tx1"/>
                </a:solidFill>
                <a:latin typeface="Arial" charset="0"/>
              </a:defRPr>
            </a:lvl9pPr>
          </a:lstStyle>
          <a:p>
            <a:pPr eaLnBrk="0" fontAlgn="base" hangingPunct="0">
              <a:lnSpc>
                <a:spcPct val="110000"/>
              </a:lnSpc>
              <a:spcBef>
                <a:spcPct val="0"/>
              </a:spcBef>
              <a:spcAft>
                <a:spcPct val="0"/>
              </a:spcAft>
            </a:pPr>
            <a:r>
              <a:rPr lang="en-US" sz="1200" b="0" dirty="0" smtClean="0">
                <a:solidFill>
                  <a:srgbClr val="000000"/>
                </a:solidFill>
              </a:rPr>
              <a:t>Deloitte Consulting B.V.</a:t>
            </a:r>
          </a:p>
        </p:txBody>
      </p:sp>
      <p:pic>
        <p:nvPicPr>
          <p:cNvPr id="6" name="Picture 18" descr="LLP logo with big space copy"/>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999" t="1779" b="59755"/>
          <a:stretch>
            <a:fillRect/>
          </a:stretch>
        </p:blipFill>
        <p:spPr bwMode="gray">
          <a:xfrm>
            <a:off x="1189567" y="5984875"/>
            <a:ext cx="1778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0804" name="Rectangle 4"/>
          <p:cNvSpPr>
            <a:spLocks noGrp="1" noChangeArrowheads="1"/>
          </p:cNvSpPr>
          <p:nvPr>
            <p:ph type="ctrTitle" sz="quarter"/>
          </p:nvPr>
        </p:nvSpPr>
        <p:spPr>
          <a:xfrm>
            <a:off x="1189893" y="2804308"/>
            <a:ext cx="8788400" cy="326243"/>
          </a:xfrm>
        </p:spPr>
        <p:txBody>
          <a:bodyPr/>
          <a:lstStyle>
            <a:lvl1pPr>
              <a:spcBef>
                <a:spcPct val="100000"/>
              </a:spcBef>
              <a:buClr>
                <a:schemeClr val="tx2"/>
              </a:buClr>
              <a:buSzPct val="85000"/>
              <a:buFont typeface="Wingdings" pitchFamily="2" charset="2"/>
              <a:buNone/>
              <a:defRPr sz="2000"/>
            </a:lvl1pPr>
          </a:lstStyle>
          <a:p>
            <a:r>
              <a:rPr lang="en-US"/>
              <a:t>Click to edit Master title style</a:t>
            </a:r>
          </a:p>
        </p:txBody>
      </p:sp>
      <p:sp>
        <p:nvSpPr>
          <p:cNvPr id="3020805" name="Rectangle 5"/>
          <p:cNvSpPr>
            <a:spLocks noGrp="1" noChangeArrowheads="1"/>
          </p:cNvSpPr>
          <p:nvPr>
            <p:ph type="subTitle" sz="quarter" idx="1"/>
          </p:nvPr>
        </p:nvSpPr>
        <p:spPr>
          <a:xfrm>
            <a:off x="1189894" y="3402013"/>
            <a:ext cx="8776677" cy="768350"/>
          </a:xfrm>
        </p:spPr>
        <p:txBody>
          <a:bodyPr/>
          <a:lstStyle>
            <a:lvl1pPr marL="0" indent="0">
              <a:spcBef>
                <a:spcPct val="15000"/>
              </a:spcBef>
              <a:buClrTx/>
              <a:buFont typeface="Wingdings 2" pitchFamily="18" charset="2"/>
              <a:buNone/>
              <a:defRPr sz="1600" b="1"/>
            </a:lvl1pPr>
          </a:lstStyle>
          <a:p>
            <a:r>
              <a:rPr lang="en-US"/>
              <a:t>Click to edit Master subtitle style</a:t>
            </a:r>
          </a:p>
        </p:txBody>
      </p:sp>
    </p:spTree>
    <p:extLst>
      <p:ext uri="{BB962C8B-B14F-4D97-AF65-F5344CB8AC3E}">
        <p14:creationId xmlns:p14="http://schemas.microsoft.com/office/powerpoint/2010/main" val="19547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
          <p:cNvSpPr>
            <a:spLocks noGrp="1" noChangeArrowheads="1"/>
          </p:cNvSpPr>
          <p:nvPr>
            <p:ph type="ftr" sz="quarter" idx="10"/>
          </p:nvPr>
        </p:nvSpPr>
        <p:spPr>
          <a:xfrm>
            <a:off x="10662492" y="6614608"/>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61FAD5ED-14FE-4236-8CB7-EBD747BB8D4E}" type="slidenum">
              <a:rPr lang="nl-NL"/>
              <a:pPr>
                <a:defRPr/>
              </a:pPr>
              <a:t>‹#›</a:t>
            </a:fld>
            <a:r>
              <a:rPr lang="nl-NL"/>
              <a:t> -</a:t>
            </a:r>
          </a:p>
        </p:txBody>
      </p:sp>
    </p:spTree>
    <p:extLst>
      <p:ext uri="{BB962C8B-B14F-4D97-AF65-F5344CB8AC3E}">
        <p14:creationId xmlns:p14="http://schemas.microsoft.com/office/powerpoint/2010/main" val="19032161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02"/>
            <a:ext cx="10363200" cy="65248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068E785B-0D7D-47F3-9B93-737BD187BF8F}" type="slidenum">
              <a:rPr lang="nl-NL"/>
              <a:pPr>
                <a:defRPr/>
              </a:pPr>
              <a:t>‹#›</a:t>
            </a:fld>
            <a:r>
              <a:rPr lang="nl-NL"/>
              <a:t> -</a:t>
            </a:r>
          </a:p>
        </p:txBody>
      </p:sp>
    </p:spTree>
    <p:extLst>
      <p:ext uri="{BB962C8B-B14F-4D97-AF65-F5344CB8AC3E}">
        <p14:creationId xmlns:p14="http://schemas.microsoft.com/office/powerpoint/2010/main" val="8391839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1909" y="1123952"/>
            <a:ext cx="5490308"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89786" y="1123952"/>
            <a:ext cx="5490308" cy="518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6"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847A6424-4B3B-4A04-8CE0-4836B7237D0E}" type="slidenum">
              <a:rPr lang="nl-NL"/>
              <a:pPr>
                <a:defRPr/>
              </a:pPr>
              <a:t>‹#›</a:t>
            </a:fld>
            <a:r>
              <a:rPr lang="nl-NL"/>
              <a:t> -</a:t>
            </a:r>
          </a:p>
        </p:txBody>
      </p:sp>
    </p:spTree>
    <p:extLst>
      <p:ext uri="{BB962C8B-B14F-4D97-AF65-F5344CB8AC3E}">
        <p14:creationId xmlns:p14="http://schemas.microsoft.com/office/powerpoint/2010/main" val="1964018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183794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24032"/>
            <a:ext cx="10972800" cy="29360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694"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694"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8"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05840013-B88F-4D75-AF26-0382A3D88672}" type="slidenum">
              <a:rPr lang="nl-NL"/>
              <a:pPr>
                <a:defRPr/>
              </a:pPr>
              <a:t>‹#›</a:t>
            </a:fld>
            <a:r>
              <a:rPr lang="nl-NL"/>
              <a:t> -</a:t>
            </a:r>
          </a:p>
        </p:txBody>
      </p:sp>
    </p:spTree>
    <p:extLst>
      <p:ext uri="{BB962C8B-B14F-4D97-AF65-F5344CB8AC3E}">
        <p14:creationId xmlns:p14="http://schemas.microsoft.com/office/powerpoint/2010/main" val="20998739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4"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7D19E0BC-9C14-404B-A312-81C7BDCA7C23}" type="slidenum">
              <a:rPr lang="nl-NL"/>
              <a:pPr>
                <a:defRPr/>
              </a:pPr>
              <a:t>‹#›</a:t>
            </a:fld>
            <a:r>
              <a:rPr lang="nl-NL"/>
              <a:t> -</a:t>
            </a:r>
          </a:p>
        </p:txBody>
      </p:sp>
    </p:spTree>
    <p:extLst>
      <p:ext uri="{BB962C8B-B14F-4D97-AF65-F5344CB8AC3E}">
        <p14:creationId xmlns:p14="http://schemas.microsoft.com/office/powerpoint/2010/main" val="964868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3"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DD56507C-8098-4FB6-B802-0C4B36DC8666}" type="slidenum">
              <a:rPr lang="nl-NL"/>
              <a:pPr>
                <a:defRPr/>
              </a:pPr>
              <a:t>‹#›</a:t>
            </a:fld>
            <a:r>
              <a:rPr lang="nl-NL"/>
              <a:t> -</a:t>
            </a:r>
          </a:p>
        </p:txBody>
      </p:sp>
    </p:spTree>
    <p:extLst>
      <p:ext uri="{BB962C8B-B14F-4D97-AF65-F5344CB8AC3E}">
        <p14:creationId xmlns:p14="http://schemas.microsoft.com/office/powerpoint/2010/main" val="13410392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08857"/>
            <a:ext cx="4011247" cy="326243"/>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7384" y="273052"/>
            <a:ext cx="68150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2"/>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6"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9A1864F9-1976-44B4-B3B9-A6FE01580408}" type="slidenum">
              <a:rPr lang="nl-NL"/>
              <a:pPr>
                <a:defRPr/>
              </a:pPr>
              <a:t>‹#›</a:t>
            </a:fld>
            <a:r>
              <a:rPr lang="nl-NL"/>
              <a:t> -</a:t>
            </a:r>
          </a:p>
        </p:txBody>
      </p:sp>
    </p:spTree>
    <p:extLst>
      <p:ext uri="{BB962C8B-B14F-4D97-AF65-F5344CB8AC3E}">
        <p14:creationId xmlns:p14="http://schemas.microsoft.com/office/powerpoint/2010/main" val="11793040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5041096"/>
            <a:ext cx="7315200" cy="326243"/>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6"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7667ED8B-0309-432F-8B48-58C7115067C8}" type="slidenum">
              <a:rPr lang="nl-NL"/>
              <a:pPr>
                <a:defRPr/>
              </a:pPr>
              <a:t>‹#›</a:t>
            </a:fld>
            <a:r>
              <a:rPr lang="nl-NL"/>
              <a:t> -</a:t>
            </a:r>
          </a:p>
        </p:txBody>
      </p:sp>
    </p:spTree>
    <p:extLst>
      <p:ext uri="{BB962C8B-B14F-4D97-AF65-F5344CB8AC3E}">
        <p14:creationId xmlns:p14="http://schemas.microsoft.com/office/powerpoint/2010/main" val="24584844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C793CDFD-EB5D-457D-9697-7287DC69C1BF}" type="slidenum">
              <a:rPr lang="nl-NL"/>
              <a:pPr>
                <a:defRPr/>
              </a:pPr>
              <a:t>‹#›</a:t>
            </a:fld>
            <a:r>
              <a:rPr lang="nl-NL"/>
              <a:t> -</a:t>
            </a:r>
          </a:p>
        </p:txBody>
      </p:sp>
    </p:spTree>
    <p:extLst>
      <p:ext uri="{BB962C8B-B14F-4D97-AF65-F5344CB8AC3E}">
        <p14:creationId xmlns:p14="http://schemas.microsoft.com/office/powerpoint/2010/main" val="18114787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88049" y="482602"/>
            <a:ext cx="293607" cy="58261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11909" y="482602"/>
            <a:ext cx="8188569"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C0915E19-5854-49DA-9515-38C91D0F30D3}" type="slidenum">
              <a:rPr lang="nl-NL"/>
              <a:pPr>
                <a:defRPr/>
              </a:pPr>
              <a:t>‹#›</a:t>
            </a:fld>
            <a:r>
              <a:rPr lang="nl-NL"/>
              <a:t> -</a:t>
            </a:r>
          </a:p>
        </p:txBody>
      </p:sp>
    </p:spTree>
    <p:extLst>
      <p:ext uri="{BB962C8B-B14F-4D97-AF65-F5344CB8AC3E}">
        <p14:creationId xmlns:p14="http://schemas.microsoft.com/office/powerpoint/2010/main" val="2982499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29492" y="479508"/>
            <a:ext cx="11150600" cy="29360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11908" y="1123952"/>
            <a:ext cx="11168184" cy="5184775"/>
          </a:xfrm>
        </p:spPr>
        <p:txBody>
          <a:bodyPr/>
          <a:lstStyle/>
          <a:p>
            <a:pPr lvl="0"/>
            <a:endParaRPr lang="en-US" noProof="0" dirty="0" smtClean="0"/>
          </a:p>
        </p:txBody>
      </p:sp>
      <p:sp>
        <p:nvSpPr>
          <p:cNvPr id="4"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28D66284-CFCF-495E-8ED0-D84CD67D1276}" type="slidenum">
              <a:rPr lang="nl-NL"/>
              <a:pPr>
                <a:defRPr/>
              </a:pPr>
              <a:t>‹#›</a:t>
            </a:fld>
            <a:r>
              <a:rPr lang="nl-NL"/>
              <a:t> -</a:t>
            </a:r>
          </a:p>
        </p:txBody>
      </p:sp>
    </p:spTree>
    <p:extLst>
      <p:ext uri="{BB962C8B-B14F-4D97-AF65-F5344CB8AC3E}">
        <p14:creationId xmlns:p14="http://schemas.microsoft.com/office/powerpoint/2010/main" val="39129700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29492" y="479508"/>
            <a:ext cx="11150600" cy="29360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11908" y="1123952"/>
            <a:ext cx="11168184" cy="5184775"/>
          </a:xfrm>
        </p:spPr>
        <p:txBody>
          <a:bodyPr/>
          <a:lstStyle/>
          <a:p>
            <a:pPr lvl="0"/>
            <a:endParaRPr lang="en-US" noProof="0" dirty="0" smtClean="0"/>
          </a:p>
        </p:txBody>
      </p:sp>
      <p:sp>
        <p:nvSpPr>
          <p:cNvPr id="4" name="Rectangle 52"/>
          <p:cNvSpPr>
            <a:spLocks noGrp="1" noChangeArrowheads="1"/>
          </p:cNvSpPr>
          <p:nvPr>
            <p:ph type="ftr" sz="quarter" idx="10"/>
          </p:nvPr>
        </p:nvSpPr>
        <p:spPr>
          <a:xfrm>
            <a:off x="10662492" y="6611145"/>
            <a:ext cx="2944717" cy="97847"/>
          </a:xfrm>
        </p:spPr>
        <p:txBody>
          <a:bodyPr/>
          <a:lstStyle>
            <a:lvl1pPr algn="ctr">
              <a:lnSpc>
                <a:spcPct val="106000"/>
              </a:lnSpc>
              <a:defRPr b="1"/>
            </a:lvl1pPr>
          </a:lstStyle>
          <a:p>
            <a:pPr>
              <a:defRPr/>
            </a:pPr>
            <a:r>
              <a:rPr lang="nl-NL" dirty="0" smtClean="0"/>
              <a:t>Location/Filename/Unit/Author/Assistant (Change via 'View - Header and Footer')</a:t>
            </a:r>
            <a:endParaRPr lang="nl-NL" dirty="0"/>
          </a:p>
        </p:txBody>
      </p:sp>
      <p:sp>
        <p:nvSpPr>
          <p:cNvPr id="5" name="Rectangle 53"/>
          <p:cNvSpPr>
            <a:spLocks noGrp="1" noChangeArrowheads="1"/>
          </p:cNvSpPr>
          <p:nvPr>
            <p:ph type="sldNum" sz="quarter" idx="11"/>
          </p:nvPr>
        </p:nvSpPr>
        <p:spPr>
          <a:xfrm>
            <a:off x="5934673" y="6632575"/>
            <a:ext cx="314189" cy="163122"/>
          </a:xfrm>
        </p:spPr>
        <p:txBody>
          <a:bodyPr/>
          <a:lstStyle>
            <a:lvl1pPr>
              <a:lnSpc>
                <a:spcPct val="106000"/>
              </a:lnSpc>
              <a:defRPr b="1"/>
            </a:lvl1pPr>
          </a:lstStyle>
          <a:p>
            <a:pPr>
              <a:defRPr/>
            </a:pPr>
            <a:r>
              <a:rPr lang="nl-NL"/>
              <a:t>- </a:t>
            </a:r>
            <a:fld id="{9AE1FF6A-FF63-4C9D-8475-473DE1AFB82D}" type="slidenum">
              <a:rPr lang="nl-NL"/>
              <a:pPr>
                <a:defRPr/>
              </a:pPr>
              <a:t>‹#›</a:t>
            </a:fld>
            <a:r>
              <a:rPr lang="nl-NL"/>
              <a:t> -</a:t>
            </a:r>
          </a:p>
        </p:txBody>
      </p:sp>
    </p:spTree>
    <p:extLst>
      <p:ext uri="{BB962C8B-B14F-4D97-AF65-F5344CB8AC3E}">
        <p14:creationId xmlns:p14="http://schemas.microsoft.com/office/powerpoint/2010/main" val="18571940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781051" y="774700"/>
            <a:ext cx="10629900"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95" t="1778" b="59770"/>
          <a:stretch>
            <a:fillRect/>
          </a:stretch>
        </p:blipFill>
        <p:spPr bwMode="gray">
          <a:xfrm>
            <a:off x="1193801" y="6026150"/>
            <a:ext cx="1926167" cy="274638"/>
          </a:xfrm>
          <a:prstGeom prst="rect">
            <a:avLst/>
          </a:prstGeom>
          <a:noFill/>
          <a:ln w="9525">
            <a:noFill/>
            <a:miter lim="800000"/>
            <a:headEnd/>
            <a:tailEnd/>
          </a:ln>
        </p:spPr>
      </p:pic>
      <p:sp>
        <p:nvSpPr>
          <p:cNvPr id="3700739" name="Rectangle 3"/>
          <p:cNvSpPr>
            <a:spLocks noGrp="1" noChangeArrowheads="1"/>
          </p:cNvSpPr>
          <p:nvPr>
            <p:ph type="ctrTitle" sz="quarter"/>
          </p:nvPr>
        </p:nvSpPr>
        <p:spPr>
          <a:xfrm>
            <a:off x="1189567" y="2848422"/>
            <a:ext cx="8775700" cy="282129"/>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1189568" y="3402014"/>
            <a:ext cx="8777817"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384837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0332721"/>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9" name="Text Placeholder 8"/>
          <p:cNvSpPr>
            <a:spLocks noGrp="1"/>
          </p:cNvSpPr>
          <p:nvPr>
            <p:ph type="body" sz="quarter" idx="10"/>
          </p:nvPr>
        </p:nvSpPr>
        <p:spPr>
          <a:xfrm>
            <a:off x="2328672" y="2368296"/>
            <a:ext cx="7510272"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30912410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p>
            <a:pPr lvl="0"/>
            <a:r>
              <a:rPr lang="en-US" smtClean="0"/>
              <a:t>Click to edit Master text styles</a:t>
            </a:r>
          </a:p>
        </p:txBody>
      </p:sp>
    </p:spTree>
    <p:extLst>
      <p:ext uri="{BB962C8B-B14F-4D97-AF65-F5344CB8AC3E}">
        <p14:creationId xmlns:p14="http://schemas.microsoft.com/office/powerpoint/2010/main" val="9042114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
        <p:nvSpPr>
          <p:cNvPr id="2" name="Title 1"/>
          <p:cNvSpPr>
            <a:spLocks noGrp="1"/>
          </p:cNvSpPr>
          <p:nvPr>
            <p:ph type="title"/>
          </p:nvPr>
        </p:nvSpPr>
        <p:spPr>
          <a:xfrm>
            <a:off x="524257" y="514351"/>
            <a:ext cx="11127316"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26338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charset="0"/>
            </a:endParaRPr>
          </a:p>
        </p:txBody>
      </p:sp>
      <p:sp>
        <p:nvSpPr>
          <p:cNvPr id="4" name="Rectangle 3"/>
          <p:cNvSpPr>
            <a:spLocks noChangeArrowheads="1"/>
          </p:cNvSpPr>
          <p:nvPr/>
        </p:nvSpPr>
        <p:spPr bwMode="gray">
          <a:xfrm>
            <a:off x="3304118" y="2136775"/>
            <a:ext cx="5556249"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charset="0"/>
            </a:endParaRPr>
          </a:p>
        </p:txBody>
      </p:sp>
      <p:sp>
        <p:nvSpPr>
          <p:cNvPr id="5" name="Text Placeholder 7"/>
          <p:cNvSpPr>
            <a:spLocks noGrp="1"/>
          </p:cNvSpPr>
          <p:nvPr>
            <p:ph type="body" sz="quarter" idx="10"/>
          </p:nvPr>
        </p:nvSpPr>
        <p:spPr>
          <a:xfrm>
            <a:off x="3852672" y="3081528"/>
            <a:ext cx="4462272"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494331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7692602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5352288"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9270787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charset="0"/>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2089511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6315456" y="1399032"/>
            <a:ext cx="5352288"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399032"/>
            <a:ext cx="5352288"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58467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340352" y="1399032"/>
            <a:ext cx="347472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399032"/>
            <a:ext cx="347472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8168640" y="1399032"/>
            <a:ext cx="347472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92734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5352288"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315456" y="1399032"/>
            <a:ext cx="5352288"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524256" y="4041648"/>
            <a:ext cx="534009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4009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34704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12924505"/>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340352"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8168640" y="1399032"/>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524256"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340352"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8168640" y="4041839"/>
            <a:ext cx="347472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497940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82182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8346010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620256"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620256"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1060704" y="453542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1060704" y="561441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6620256"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6620256" y="453542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6620256" y="561441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27163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851904" y="1289304"/>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851904" y="2368296"/>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08315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32841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52425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613257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893673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12989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43072"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5949696"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524256" y="4709160"/>
            <a:ext cx="534009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4709160"/>
            <a:ext cx="534009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8668512" y="1828800"/>
            <a:ext cx="2718816"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64491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6315456" y="1399032"/>
            <a:ext cx="5340096"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40096"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837620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524256"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4346448"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8168640" y="4270248"/>
            <a:ext cx="3511296"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395839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524256" y="4864608"/>
            <a:ext cx="5340096"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315456" y="4864608"/>
            <a:ext cx="5340096"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7615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928808977"/>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524256" y="1709928"/>
            <a:ext cx="4047744"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53715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898648"/>
            <a:ext cx="5352288"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898648"/>
            <a:ext cx="5352288"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164627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6315456" y="1152144"/>
            <a:ext cx="5352288"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333906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697480"/>
            <a:ext cx="5340096"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697480"/>
            <a:ext cx="5340096"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926336" y="1399033"/>
            <a:ext cx="3925824" cy="611834"/>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717536" y="1399033"/>
            <a:ext cx="3925824" cy="611834"/>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824597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524256" y="2697480"/>
            <a:ext cx="5340096"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6315456" y="2697480"/>
            <a:ext cx="5340096"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926336" y="1399032"/>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717536" y="1399032"/>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524256" y="5202936"/>
            <a:ext cx="5340096"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6315456" y="5202936"/>
            <a:ext cx="5340096"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926336" y="3904488"/>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7717536" y="3904488"/>
            <a:ext cx="3925824" cy="586443"/>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577787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792224" y="1097281"/>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7559040" y="1097281"/>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792224" y="2414017"/>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7571232" y="2414017"/>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792224" y="3739896"/>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7717536" y="3739896"/>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792224" y="5056633"/>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7571232" y="5056633"/>
            <a:ext cx="3925824" cy="611834"/>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640425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524256" y="1399032"/>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6315456" y="1399032"/>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524256" y="4041648"/>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6315456" y="4041648"/>
            <a:ext cx="5352288"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039654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9965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1056218" y="1177925"/>
            <a:ext cx="5340349" cy="1023938"/>
          </a:xfrm>
          <a:prstGeom prst="rect">
            <a:avLst/>
          </a:prstGeom>
        </p:spPr>
        <p:txBody>
          <a:bodyPr/>
          <a:lstStyle/>
          <a:p>
            <a:pPr marL="169863" lvl="1" indent="-168275" fontAlgn="base">
              <a:lnSpc>
                <a:spcPct val="106000"/>
              </a:lnSpc>
              <a:spcBef>
                <a:spcPct val="80000"/>
              </a:spcBef>
              <a:spcAft>
                <a:spcPct val="0"/>
              </a:spcAft>
              <a:buClr>
                <a:srgbClr val="000000"/>
              </a:buClr>
              <a:buFont typeface="Wingdings 2" pitchFamily="18" charset="2"/>
              <a:buChar char="¡"/>
              <a:defRPr/>
            </a:pPr>
            <a:r>
              <a:rPr lang="en-US" sz="1100" dirty="0">
                <a:solidFill>
                  <a:srgbClr val="000000"/>
                </a:solidFill>
                <a:cs typeface="Arial" charset="0"/>
              </a:rPr>
              <a:t>Bullet</a:t>
            </a:r>
          </a:p>
        </p:txBody>
      </p:sp>
    </p:spTree>
    <p:extLst>
      <p:ext uri="{BB962C8B-B14F-4D97-AF65-F5344CB8AC3E}">
        <p14:creationId xmlns:p14="http://schemas.microsoft.com/office/powerpoint/2010/main" val="19631580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18876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492220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532170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074946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485501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6933860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1016112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731763" y="5158686"/>
            <a:ext cx="8912352"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801260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781051" y="776289"/>
            <a:ext cx="10629900" cy="4795837"/>
          </a:xfrm>
          <a:prstGeom prst="rect">
            <a:avLst/>
          </a:prstGeom>
          <a:solidFill>
            <a:schemeClr val="bg1"/>
          </a:solidFill>
          <a:ln w="19050" algn="ctr">
            <a:solidFill>
              <a:schemeClr val="accent1"/>
            </a:solidFill>
            <a:miter lim="800000"/>
            <a:headEnd/>
            <a:tailEnd/>
          </a:ln>
        </p:spPr>
        <p:txBody>
          <a:bodyPr lIns="90000" tIns="90000" rIns="90000" bIns="90000" anchor="ctr"/>
          <a:lstStyle/>
          <a:p>
            <a:pPr marL="119063" indent="-119063" eaLnBrk="0" fontAlgn="base" hangingPunct="0">
              <a:spcBef>
                <a:spcPct val="50000"/>
              </a:spcBef>
              <a:spcAft>
                <a:spcPct val="0"/>
              </a:spcAft>
            </a:pPr>
            <a:endParaRPr lang="en-US" sz="1100" b="1" dirty="0">
              <a:solidFill>
                <a:srgbClr val="000000"/>
              </a:solidFill>
              <a:cs typeface="Arial" charset="0"/>
            </a:endParaRPr>
          </a:p>
        </p:txBody>
      </p:sp>
      <p:pic>
        <p:nvPicPr>
          <p:cNvPr id="5" name="Picture 93"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83" t="1840" b="59741"/>
          <a:stretch>
            <a:fillRect/>
          </a:stretch>
        </p:blipFill>
        <p:spPr bwMode="gray">
          <a:xfrm>
            <a:off x="1193800" y="6026151"/>
            <a:ext cx="193886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MSTSHP_03"/>
          <p:cNvSpPr>
            <a:spLocks noGrp="1" noChangeArrowheads="1"/>
          </p:cNvSpPr>
          <p:nvPr>
            <p:ph type="ctrTitle" sz="quarter"/>
          </p:nvPr>
        </p:nvSpPr>
        <p:spPr>
          <a:xfrm>
            <a:off x="1189567" y="2695576"/>
            <a:ext cx="8775700"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a:xfrm>
            <a:off x="1189568" y="3516314"/>
            <a:ext cx="8777817" cy="439737"/>
          </a:xfrm>
          <a:ln/>
        </p:spPr>
        <p:txBody>
          <a:bodyPr/>
          <a:lstStyle>
            <a:lvl1pPr>
              <a:lnSpc>
                <a:spcPts val="2800"/>
              </a:lnSpc>
              <a:spcBef>
                <a:spcPct val="15000"/>
              </a:spcBef>
              <a:buClrTx/>
              <a:buNone/>
              <a:defRPr sz="1800" b="1"/>
            </a:lvl1pPr>
          </a:lstStyle>
          <a:p>
            <a:r>
              <a:rPr lang="en-US" smtClean="0"/>
              <a:t>Click to edit Master subtitle style</a:t>
            </a:r>
            <a:endParaRPr lang="en-US" dirty="0"/>
          </a:p>
        </p:txBody>
      </p:sp>
    </p:spTree>
    <p:extLst>
      <p:ext uri="{BB962C8B-B14F-4D97-AF65-F5344CB8AC3E}">
        <p14:creationId xmlns:p14="http://schemas.microsoft.com/office/powerpoint/2010/main" val="18971294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535517" y="803275"/>
            <a:ext cx="11114616" cy="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400" dirty="0">
              <a:solidFill>
                <a:srgbClr val="000000"/>
              </a:solidFill>
              <a:cs typeface="Arial" charset="0"/>
            </a:endParaRPr>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33400" y="1155700"/>
            <a:ext cx="11116733" cy="5137150"/>
          </a:xfrm>
        </p:spPr>
        <p:txBody>
          <a:bodyPr/>
          <a:lstStyle>
            <a:lvl1pPr>
              <a:defRPr sz="1800"/>
            </a:lvl1pPr>
          </a:lstStyle>
          <a:p>
            <a:pPr lvl="0"/>
            <a:r>
              <a:rPr lang="en-US" smtClean="0"/>
              <a:t>Click to edit Master text styles</a:t>
            </a:r>
          </a:p>
        </p:txBody>
      </p:sp>
    </p:spTree>
    <p:extLst>
      <p:ext uri="{BB962C8B-B14F-4D97-AF65-F5344CB8AC3E}">
        <p14:creationId xmlns:p14="http://schemas.microsoft.com/office/powerpoint/2010/main" val="4674941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524000" y="2551176"/>
            <a:ext cx="9144000" cy="1344168"/>
          </a:xfrm>
          <a:ln w="28575">
            <a:solidFill>
              <a:srgbClr val="003399"/>
            </a:solidFill>
          </a:ln>
        </p:spPr>
        <p:txBody>
          <a:bodyPr lIns="228600" rIns="228600" anchor="ctr" anchorCtr="1"/>
          <a:lstStyle>
            <a:lvl1pPr algn="ctr">
              <a:spcBef>
                <a:spcPts val="0"/>
              </a:spcBef>
              <a:defRPr sz="2400" b="1"/>
            </a:lvl1pPr>
          </a:lstStyle>
          <a:p>
            <a:pPr lvl="0"/>
            <a:r>
              <a:rPr lang="en-US" smtClean="0"/>
              <a:t>Click to edit Master text styles</a:t>
            </a:r>
          </a:p>
        </p:txBody>
      </p:sp>
    </p:spTree>
    <p:extLst>
      <p:ext uri="{BB962C8B-B14F-4D97-AF65-F5344CB8AC3E}">
        <p14:creationId xmlns:p14="http://schemas.microsoft.com/office/powerpoint/2010/main" val="27460761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524000" y="2551176"/>
            <a:ext cx="9144000" cy="1344168"/>
          </a:xfrm>
        </p:spPr>
        <p:txBody>
          <a:bodyPr anchor="ctr"/>
          <a:lstStyle>
            <a:lvl1pPr>
              <a:spcBef>
                <a:spcPts val="200"/>
              </a:spcBef>
              <a:defRPr sz="24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33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46020355"/>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41867" y="1155700"/>
            <a:ext cx="11119104" cy="5138928"/>
          </a:xfrm>
        </p:spPr>
        <p:txBody>
          <a:bodyPr/>
          <a:lstStyle>
            <a:lvl1pPr>
              <a:buNone/>
              <a:defRPr/>
            </a:lvl1pPr>
            <a:lvl3pPr>
              <a:defRPr sz="1600"/>
            </a:lvl3pPr>
            <a:lvl4pPr>
              <a:defRPr sz="16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42054420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36448" y="2185416"/>
            <a:ext cx="5340096"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4017" y="2187194"/>
            <a:ext cx="5340096" cy="4105656"/>
          </a:xfrm>
        </p:spPr>
        <p:txBody>
          <a:bodyPr/>
          <a:lstStyle>
            <a:lvl1pPr marL="0" indent="0">
              <a:buNone/>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2690032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sic text slide (full page w/2 col. hd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10"/>
          <p:cNvSpPr>
            <a:spLocks noGrp="1"/>
          </p:cNvSpPr>
          <p:nvPr>
            <p:ph type="body" sz="quarter" idx="13"/>
          </p:nvPr>
        </p:nvSpPr>
        <p:spPr>
          <a:xfrm>
            <a:off x="536448" y="2715768"/>
            <a:ext cx="5340096"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6315456" y="2706624"/>
            <a:ext cx="5340096" cy="358444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068447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asic Text - 2 columns">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152144"/>
            <a:ext cx="5340096"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536448" y="1152144"/>
            <a:ext cx="5340096" cy="5138928"/>
          </a:xfrm>
        </p:spPr>
        <p:txBody>
          <a:bodyPr/>
          <a:lstStyle>
            <a:lvl1pPr marL="0" indent="0">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6990809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152144"/>
            <a:ext cx="5340096" cy="5138928"/>
          </a:xfrm>
        </p:spPr>
        <p:txBody>
          <a:bodyPr/>
          <a:lstStyle>
            <a:lvl1pPr marL="0" marR="0" indent="0" algn="l" defTabSz="914400" rtl="0" eaLnBrk="0" fontAlgn="base" latinLnBrk="0" hangingPunct="0">
              <a:lnSpc>
                <a:spcPct val="106000"/>
              </a:lnSpc>
              <a:spcBef>
                <a:spcPct val="40000"/>
              </a:spcBef>
              <a:spcAft>
                <a:spcPct val="0"/>
              </a:spcAft>
              <a:buClr>
                <a:schemeClr val="tx1"/>
              </a:buClr>
              <a:buSzPct val="80000"/>
              <a:buFont typeface="Wingdings" pitchFamily="2" charset="2"/>
              <a:buNone/>
              <a:tabLst/>
              <a:defRPr sz="18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3392406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536448" y="1682496"/>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8" name="Text Placeholder 10"/>
          <p:cNvSpPr>
            <a:spLocks noGrp="1"/>
          </p:cNvSpPr>
          <p:nvPr>
            <p:ph type="body" sz="quarter" idx="16"/>
          </p:nvPr>
        </p:nvSpPr>
        <p:spPr>
          <a:xfrm>
            <a:off x="536448" y="4251960"/>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9" name="Text Placeholder 10"/>
          <p:cNvSpPr>
            <a:spLocks noGrp="1"/>
          </p:cNvSpPr>
          <p:nvPr>
            <p:ph type="body" sz="quarter" idx="17"/>
          </p:nvPr>
        </p:nvSpPr>
        <p:spPr>
          <a:xfrm>
            <a:off x="6315456" y="4251960"/>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9410267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10"/>
          <p:cNvSpPr>
            <a:spLocks noGrp="1"/>
          </p:cNvSpPr>
          <p:nvPr>
            <p:ph type="body" sz="quarter" idx="13"/>
          </p:nvPr>
        </p:nvSpPr>
        <p:spPr>
          <a:xfrm>
            <a:off x="536448" y="1682496"/>
            <a:ext cx="5340096" cy="4610354"/>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3918492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448" y="1152144"/>
            <a:ext cx="11119104" cy="868680"/>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536448" y="2176272"/>
            <a:ext cx="11119104" cy="4050792"/>
          </a:xfrm>
        </p:spPr>
        <p:txBody>
          <a:bodyPr/>
          <a:lstStyle/>
          <a:p>
            <a:pPr lvl="0"/>
            <a:r>
              <a:rPr lang="en-US" noProof="0" dirty="0" smtClean="0"/>
              <a:t>Click icon to add table</a:t>
            </a:r>
          </a:p>
        </p:txBody>
      </p:sp>
    </p:spTree>
    <p:extLst>
      <p:ext uri="{BB962C8B-B14F-4D97-AF65-F5344CB8AC3E}">
        <p14:creationId xmlns:p14="http://schemas.microsoft.com/office/powerpoint/2010/main" val="22342920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evron table">
    <p:spTree>
      <p:nvGrpSpPr>
        <p:cNvPr id="1" name=""/>
        <p:cNvGrpSpPr/>
        <p:nvPr/>
      </p:nvGrpSpPr>
      <p:grpSpPr>
        <a:xfrm>
          <a:off x="0" y="0"/>
          <a:ext cx="0" cy="0"/>
          <a:chOff x="0" y="0"/>
          <a:chExt cx="0" cy="0"/>
        </a:xfrm>
      </p:grpSpPr>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7" name="Table Placeholder 6"/>
          <p:cNvSpPr>
            <a:spLocks noGrp="1"/>
          </p:cNvSpPr>
          <p:nvPr>
            <p:ph type="tbl" sz="quarter" idx="10"/>
          </p:nvPr>
        </p:nvSpPr>
        <p:spPr>
          <a:xfrm>
            <a:off x="536448" y="1747838"/>
            <a:ext cx="11119104" cy="4545012"/>
          </a:xfrm>
        </p:spPr>
        <p:txBody>
          <a:bodyPr/>
          <a:lstStyle/>
          <a:p>
            <a:pPr lvl="0"/>
            <a:r>
              <a:rPr lang="en-US" noProof="0" dirty="0" smtClean="0"/>
              <a:t>Click icon to add table</a:t>
            </a:r>
          </a:p>
        </p:txBody>
      </p:sp>
    </p:spTree>
    <p:extLst>
      <p:ext uri="{BB962C8B-B14F-4D97-AF65-F5344CB8AC3E}">
        <p14:creationId xmlns:p14="http://schemas.microsoft.com/office/powerpoint/2010/main" val="14682164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3547872" y="1155700"/>
            <a:ext cx="810768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smtClean="0"/>
              <a:t>Click to edit Master title style</a:t>
            </a:r>
            <a:endParaRPr lang="en-US" dirty="0"/>
          </a:p>
        </p:txBody>
      </p:sp>
      <p:sp>
        <p:nvSpPr>
          <p:cNvPr id="6" name="Text Placeholder 10"/>
          <p:cNvSpPr>
            <a:spLocks noGrp="1"/>
          </p:cNvSpPr>
          <p:nvPr>
            <p:ph type="body" sz="quarter" idx="14"/>
          </p:nvPr>
        </p:nvSpPr>
        <p:spPr>
          <a:xfrm>
            <a:off x="3542453" y="2898648"/>
            <a:ext cx="810768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10"/>
          <p:cNvSpPr>
            <a:spLocks noGrp="1"/>
          </p:cNvSpPr>
          <p:nvPr>
            <p:ph type="body" sz="quarter" idx="15"/>
          </p:nvPr>
        </p:nvSpPr>
        <p:spPr>
          <a:xfrm>
            <a:off x="3542453" y="4645152"/>
            <a:ext cx="8107680" cy="13624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buNone/>
              <a:defRPr sz="16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5173462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4.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4.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image" Target="../media/image4.png"/><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image" Target="../media/image7.png"/><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theme" Target="../theme/theme5.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image" Target="../media/image4.pn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6.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image" Target="../media/image10.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image" Target="../media/image4.png"/><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theme" Target="../theme/theme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slideLayout" Target="../slideLayouts/slideLayout190.xml"/><Relationship Id="rId41" Type="http://schemas.openxmlformats.org/officeDocument/2006/relationships/slideLayout" Target="../slideLayouts/slideLayout202.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487680" y="6481704"/>
            <a:ext cx="609600" cy="123111"/>
          </a:xfrm>
          <a:prstGeom prst="rect">
            <a:avLst/>
          </a:prstGeom>
          <a:noFill/>
        </p:spPr>
        <p:txBody>
          <a:bodyPr wrap="square" lIns="0" tIns="0" rIns="0" bIns="0" rtlCol="0" anchor="b">
            <a:spAutoFit/>
          </a:bodyPr>
          <a:lstStyle/>
          <a:p>
            <a:fld id="{95CC1D26-A9BD-4BDE-BDD9-08EDBAE96860}" type="slidenum">
              <a:rPr lang="en-US" sz="800" smtClean="0">
                <a:solidFill>
                  <a:srgbClr val="8C8C8C"/>
                </a:solidFill>
              </a:rPr>
              <a:pPr/>
              <a:t>‹#›</a:t>
            </a:fld>
            <a:endParaRPr lang="en-US" sz="800" dirty="0">
              <a:solidFill>
                <a:srgbClr val="8C8C8C"/>
              </a:solidFill>
            </a:endParaRPr>
          </a:p>
        </p:txBody>
      </p:sp>
      <p:sp>
        <p:nvSpPr>
          <p:cNvPr id="9" name="TextBox 8"/>
          <p:cNvSpPr txBox="1"/>
          <p:nvPr/>
        </p:nvSpPr>
        <p:spPr bwMode="gray">
          <a:xfrm>
            <a:off x="5913120" y="6481704"/>
            <a:ext cx="5791200" cy="123111"/>
          </a:xfrm>
          <a:prstGeom prst="rect">
            <a:avLst/>
          </a:prstGeom>
          <a:noFill/>
        </p:spPr>
        <p:txBody>
          <a:bodyPr wrap="square" lIns="0" tIns="0" rIns="0" bIns="0" rtlCol="0" anchor="b">
            <a:spAutoFit/>
          </a:bodyPr>
          <a:lstStyle/>
          <a:p>
            <a:pPr algn="r">
              <a:defRPr/>
            </a:pPr>
            <a:r>
              <a:rPr lang="en-US" sz="800" dirty="0" smtClean="0">
                <a:solidFill>
                  <a:srgbClr val="8C8C8C"/>
                </a:solidFill>
              </a:rPr>
              <a:t>Copyright © 2015 Deloitte Development LLC. All rights reserved.</a:t>
            </a:r>
          </a:p>
        </p:txBody>
      </p:sp>
    </p:spTree>
    <p:extLst>
      <p:ext uri="{BB962C8B-B14F-4D97-AF65-F5344CB8AC3E}">
        <p14:creationId xmlns:p14="http://schemas.microsoft.com/office/powerpoint/2010/main" val="36099377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4046" r:id="rId22"/>
    <p:sldLayoutId id="2147484062" r:id="rId23"/>
    <p:sldLayoutId id="2147484063" r:id="rId24"/>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gray">
          <a:xfrm>
            <a:off x="535518" y="514351"/>
            <a:ext cx="11127316" cy="25876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20483" name="Rectangle 3"/>
          <p:cNvSpPr>
            <a:spLocks noGrp="1" noChangeArrowheads="1"/>
          </p:cNvSpPr>
          <p:nvPr>
            <p:ph type="body" idx="1"/>
          </p:nvPr>
        </p:nvSpPr>
        <p:spPr bwMode="gray">
          <a:xfrm>
            <a:off x="529167" y="1154113"/>
            <a:ext cx="5344584"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gray">
          <a:xfrm>
            <a:off x="5954936" y="6661954"/>
            <a:ext cx="282129" cy="14683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2FF15FAD-1A70-42F1-B1E1-CF2ECE3B382E}"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0485" name="Picture 6" descr="DEL_COL"/>
          <p:cNvPicPr>
            <a:picLocks noChangeAspect="1" noChangeArrowheads="1"/>
          </p:cNvPicPr>
          <p:nvPr/>
        </p:nvPicPr>
        <p:blipFill>
          <a:blip r:embed="rId13" cstate="print"/>
          <a:srcRect/>
          <a:stretch>
            <a:fillRect/>
          </a:stretch>
        </p:blipFill>
        <p:spPr bwMode="gray">
          <a:xfrm>
            <a:off x="527051" y="6645275"/>
            <a:ext cx="920749" cy="139700"/>
          </a:xfrm>
          <a:prstGeom prst="rect">
            <a:avLst/>
          </a:prstGeom>
          <a:noFill/>
          <a:ln w="9525">
            <a:noFill/>
            <a:miter lim="800000"/>
            <a:headEnd/>
            <a:tailEnd/>
          </a:ln>
        </p:spPr>
      </p:pic>
      <p:sp>
        <p:nvSpPr>
          <p:cNvPr id="3699747"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Tree>
    <p:extLst>
      <p:ext uri="{BB962C8B-B14F-4D97-AF65-F5344CB8AC3E}">
        <p14:creationId xmlns:p14="http://schemas.microsoft.com/office/powerpoint/2010/main" val="296449246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hf hdr="0" ft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fontAlgn="base">
        <a:lnSpc>
          <a:spcPct val="106000"/>
        </a:lnSpc>
        <a:spcBef>
          <a:spcPct val="0"/>
        </a:spcBef>
        <a:spcAft>
          <a:spcPct val="0"/>
        </a:spcAft>
        <a:defRPr sz="1600" b="1">
          <a:solidFill>
            <a:schemeClr val="tx1"/>
          </a:solidFill>
          <a:latin typeface="Arial" charset="0"/>
        </a:defRPr>
      </a:lvl6pPr>
      <a:lvl7pPr marL="914400" algn="l" rtl="0" fontAlgn="base">
        <a:lnSpc>
          <a:spcPct val="106000"/>
        </a:lnSpc>
        <a:spcBef>
          <a:spcPct val="0"/>
        </a:spcBef>
        <a:spcAft>
          <a:spcPct val="0"/>
        </a:spcAft>
        <a:defRPr sz="1600" b="1">
          <a:solidFill>
            <a:schemeClr val="tx1"/>
          </a:solidFill>
          <a:latin typeface="Arial" charset="0"/>
        </a:defRPr>
      </a:lvl7pPr>
      <a:lvl8pPr marL="1371600" algn="l" rtl="0" fontAlgn="base">
        <a:lnSpc>
          <a:spcPct val="106000"/>
        </a:lnSpc>
        <a:spcBef>
          <a:spcPct val="0"/>
        </a:spcBef>
        <a:spcAft>
          <a:spcPct val="0"/>
        </a:spcAft>
        <a:defRPr sz="1600" b="1">
          <a:solidFill>
            <a:schemeClr val="tx1"/>
          </a:solidFill>
          <a:latin typeface="Arial" charset="0"/>
        </a:defRPr>
      </a:lvl8pPr>
      <a:lvl9pPr marL="1828800" algn="l" rtl="0" fontAlgn="base">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buChar char="•"/>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gray">
          <a:xfrm>
            <a:off x="529167" y="479425"/>
            <a:ext cx="11150600"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099" name="Rectangle 3"/>
          <p:cNvSpPr>
            <a:spLocks noGrp="1" noChangeArrowheads="1"/>
          </p:cNvSpPr>
          <p:nvPr>
            <p:ph type="body" idx="1"/>
          </p:nvPr>
        </p:nvSpPr>
        <p:spPr bwMode="gray">
          <a:xfrm>
            <a:off x="512234" y="1123951"/>
            <a:ext cx="11167533" cy="51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4100" name="Line 42"/>
          <p:cNvSpPr>
            <a:spLocks noChangeShapeType="1"/>
          </p:cNvSpPr>
          <p:nvPr/>
        </p:nvSpPr>
        <p:spPr bwMode="gray">
          <a:xfrm>
            <a:off x="522817" y="806450"/>
            <a:ext cx="11140016"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b="1" dirty="0" smtClean="0">
              <a:solidFill>
                <a:srgbClr val="000000"/>
              </a:solidFill>
            </a:endParaRPr>
          </a:p>
        </p:txBody>
      </p:sp>
      <p:pic>
        <p:nvPicPr>
          <p:cNvPr id="4101" name="Picture 51" descr="DEL_COL"/>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gray">
          <a:xfrm>
            <a:off x="531285" y="6645275"/>
            <a:ext cx="8509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9828" name="Rectangle 52"/>
          <p:cNvSpPr>
            <a:spLocks noGrp="1" noChangeArrowheads="1"/>
          </p:cNvSpPr>
          <p:nvPr>
            <p:ph type="ftr" sz="quarter" idx="3"/>
          </p:nvPr>
        </p:nvSpPr>
        <p:spPr bwMode="auto">
          <a:xfrm rot="16200000" flipH="1">
            <a:off x="10748253" y="6617366"/>
            <a:ext cx="2773195" cy="92333"/>
          </a:xfrm>
          <a:prstGeom prst="rect">
            <a:avLst/>
          </a:prstGeom>
          <a:noFill/>
          <a:ln w="9525" algn="ctr">
            <a:noFill/>
            <a:miter lim="800000"/>
            <a:headEnd/>
            <a:tailEnd/>
          </a:ln>
          <a:effectLst/>
        </p:spPr>
        <p:txBody>
          <a:bodyPr vert="horz" wrap="none" lIns="0" tIns="0" rIns="0" bIns="0" numCol="1" anchor="b" anchorCtr="0" compatLnSpc="1">
            <a:prstTxWarp prst="textNoShape">
              <a:avLst/>
            </a:prstTxWarp>
            <a:spAutoFit/>
          </a:bodyPr>
          <a:lstStyle>
            <a:lvl1pPr algn="l" eaLnBrk="1" hangingPunct="1">
              <a:lnSpc>
                <a:spcPct val="100000"/>
              </a:lnSpc>
              <a:spcBef>
                <a:spcPct val="0"/>
              </a:spcBef>
              <a:defRPr sz="600" b="0">
                <a:solidFill>
                  <a:srgbClr val="AFAFAF"/>
                </a:solidFill>
              </a:defRPr>
            </a:lvl1pPr>
          </a:lstStyle>
          <a:p>
            <a:pPr fontAlgn="base">
              <a:spcAft>
                <a:spcPct val="0"/>
              </a:spcAft>
              <a:defRPr/>
            </a:pPr>
            <a:r>
              <a:rPr lang="nl-NL" dirty="0" smtClean="0"/>
              <a:t>Location/Filename/Unit/Author/Assistant (Change via 'View - Header and Footer')</a:t>
            </a:r>
            <a:endParaRPr lang="nl-NL" dirty="0"/>
          </a:p>
        </p:txBody>
      </p:sp>
      <p:sp>
        <p:nvSpPr>
          <p:cNvPr id="3019829" name="Rectangle 53"/>
          <p:cNvSpPr>
            <a:spLocks noGrp="1" noChangeArrowheads="1"/>
          </p:cNvSpPr>
          <p:nvPr>
            <p:ph type="sldNum" sz="quarter" idx="4"/>
          </p:nvPr>
        </p:nvSpPr>
        <p:spPr bwMode="auto">
          <a:xfrm>
            <a:off x="5934673" y="6632575"/>
            <a:ext cx="314189"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a:lnSpc>
                <a:spcPct val="100000"/>
              </a:lnSpc>
              <a:spcBef>
                <a:spcPct val="0"/>
              </a:spcBef>
              <a:defRPr sz="1000" b="0">
                <a:solidFill>
                  <a:srgbClr val="000000"/>
                </a:solidFill>
              </a:defRPr>
            </a:lvl1pPr>
          </a:lstStyle>
          <a:p>
            <a:pPr eaLnBrk="0" fontAlgn="base" hangingPunct="0">
              <a:spcAft>
                <a:spcPct val="0"/>
              </a:spcAft>
              <a:defRPr/>
            </a:pPr>
            <a:r>
              <a:rPr lang="nl-NL"/>
              <a:t>- </a:t>
            </a:r>
            <a:fld id="{66DDFBD3-A2F4-4AA3-A608-281C9CEAC658}" type="slidenum">
              <a:rPr lang="nl-NL"/>
              <a:pPr eaLnBrk="0" fontAlgn="base" hangingPunct="0">
                <a:spcAft>
                  <a:spcPct val="0"/>
                </a:spcAft>
                <a:defRPr/>
              </a:pPr>
              <a:t>‹#›</a:t>
            </a:fld>
            <a:r>
              <a:rPr lang="nl-NL"/>
              <a:t> -</a:t>
            </a:r>
          </a:p>
        </p:txBody>
      </p:sp>
    </p:spTree>
    <p:extLst>
      <p:ext uri="{BB962C8B-B14F-4D97-AF65-F5344CB8AC3E}">
        <p14:creationId xmlns:p14="http://schemas.microsoft.com/office/powerpoint/2010/main" val="154255180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Lst>
  <p:hf hd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457200" algn="l" rtl="0" fontAlgn="base">
        <a:lnSpc>
          <a:spcPct val="106000"/>
        </a:lnSpc>
        <a:spcBef>
          <a:spcPct val="0"/>
        </a:spcBef>
        <a:spcAft>
          <a:spcPct val="0"/>
        </a:spcAft>
        <a:defRPr b="1">
          <a:solidFill>
            <a:schemeClr val="tx1"/>
          </a:solidFill>
          <a:latin typeface="Arial" charset="0"/>
        </a:defRPr>
      </a:lvl6pPr>
      <a:lvl7pPr marL="914400" algn="l" rtl="0" fontAlgn="base">
        <a:lnSpc>
          <a:spcPct val="106000"/>
        </a:lnSpc>
        <a:spcBef>
          <a:spcPct val="0"/>
        </a:spcBef>
        <a:spcAft>
          <a:spcPct val="0"/>
        </a:spcAft>
        <a:defRPr b="1">
          <a:solidFill>
            <a:schemeClr val="tx1"/>
          </a:solidFill>
          <a:latin typeface="Arial" charset="0"/>
        </a:defRPr>
      </a:lvl7pPr>
      <a:lvl8pPr marL="1371600" algn="l" rtl="0" fontAlgn="base">
        <a:lnSpc>
          <a:spcPct val="106000"/>
        </a:lnSpc>
        <a:spcBef>
          <a:spcPct val="0"/>
        </a:spcBef>
        <a:spcAft>
          <a:spcPct val="0"/>
        </a:spcAft>
        <a:defRPr b="1">
          <a:solidFill>
            <a:schemeClr val="tx1"/>
          </a:solidFill>
          <a:latin typeface="Arial" charset="0"/>
        </a:defRPr>
      </a:lvl8pPr>
      <a:lvl9pPr marL="1828800" algn="l" rtl="0" fontAlgn="base">
        <a:lnSpc>
          <a:spcPct val="106000"/>
        </a:lnSpc>
        <a:spcBef>
          <a:spcPct val="0"/>
        </a:spcBef>
        <a:spcAft>
          <a:spcPct val="0"/>
        </a:spcAft>
        <a:defRPr b="1">
          <a:solidFill>
            <a:schemeClr val="tx1"/>
          </a:solidFill>
          <a:latin typeface="Arial" charset="0"/>
        </a:defRPr>
      </a:lvl9pPr>
    </p:titleStyle>
    <p:bodyStyle>
      <a:lvl1pPr marL="177800" indent="-177800" algn="l" rtl="0" eaLnBrk="0" fontAlgn="base" hangingPunct="0">
        <a:lnSpc>
          <a:spcPct val="106000"/>
        </a:lnSpc>
        <a:spcBef>
          <a:spcPct val="80000"/>
        </a:spcBef>
        <a:spcAft>
          <a:spcPct val="0"/>
        </a:spcAft>
        <a:buClr>
          <a:schemeClr val="tx1"/>
        </a:buClr>
        <a:buFont typeface="Wingdings 2" pitchFamily="18" charset="2"/>
        <a:buChar char="¡"/>
        <a:defRPr sz="1400">
          <a:solidFill>
            <a:schemeClr val="tx1"/>
          </a:solidFill>
          <a:latin typeface="+mn-lt"/>
          <a:ea typeface="+mn-ea"/>
          <a:cs typeface="+mn-cs"/>
        </a:defRPr>
      </a:lvl1pPr>
      <a:lvl2pPr marL="628650" indent="-177800" algn="l" rtl="0" eaLnBrk="0" fontAlgn="base" hangingPunct="0">
        <a:lnSpc>
          <a:spcPct val="106000"/>
        </a:lnSpc>
        <a:spcBef>
          <a:spcPct val="80000"/>
        </a:spcBef>
        <a:spcAft>
          <a:spcPct val="0"/>
        </a:spcAft>
        <a:buClr>
          <a:schemeClr val="tx1"/>
        </a:buClr>
        <a:buFont typeface="Arial" charset="0"/>
        <a:buChar char="–"/>
        <a:defRPr sz="1200">
          <a:solidFill>
            <a:schemeClr val="tx1"/>
          </a:solidFill>
          <a:latin typeface="+mn-lt"/>
        </a:defRPr>
      </a:lvl2pPr>
      <a:lvl3pPr marL="1060450" indent="-180975" algn="l" rtl="0" eaLnBrk="0" fontAlgn="base" hangingPunct="0">
        <a:lnSpc>
          <a:spcPct val="106000"/>
        </a:lnSpc>
        <a:spcBef>
          <a:spcPct val="40000"/>
        </a:spcBef>
        <a:spcAft>
          <a:spcPct val="0"/>
        </a:spcAft>
        <a:buClr>
          <a:schemeClr val="tx1"/>
        </a:buClr>
        <a:buFont typeface="Wingdings" pitchFamily="2" charset="2"/>
        <a:buChar char="§"/>
        <a:defRPr sz="1200">
          <a:solidFill>
            <a:schemeClr val="tx1"/>
          </a:solidFill>
          <a:latin typeface="+mn-lt"/>
        </a:defRPr>
      </a:lvl3pPr>
      <a:lvl4pPr marL="1589088" indent="-195263" algn="l" rtl="0" eaLnBrk="0" fontAlgn="base" hangingPunct="0">
        <a:lnSpc>
          <a:spcPct val="110000"/>
        </a:lnSpc>
        <a:spcBef>
          <a:spcPct val="20000"/>
        </a:spcBef>
        <a:spcAft>
          <a:spcPct val="0"/>
        </a:spcAft>
        <a:buClr>
          <a:schemeClr val="tx1"/>
        </a:buClr>
        <a:buFont typeface="Arial" charset="0"/>
        <a:buChar char="–"/>
        <a:defRPr sz="1200">
          <a:solidFill>
            <a:schemeClr val="tx1"/>
          </a:solidFill>
          <a:latin typeface="+mn-lt"/>
        </a:defRPr>
      </a:lvl4pPr>
      <a:lvl5pPr marL="2005013" indent="-236538" algn="l" rtl="0" eaLnBrk="0" fontAlgn="base" hangingPunct="0">
        <a:spcBef>
          <a:spcPct val="20000"/>
        </a:spcBef>
        <a:spcAft>
          <a:spcPct val="0"/>
        </a:spcAft>
        <a:buClr>
          <a:schemeClr val="tx1"/>
        </a:buClr>
        <a:buFont typeface="Wingdings" pitchFamily="2" charset="2"/>
        <a:buChar char="§"/>
        <a:defRPr sz="1200">
          <a:solidFill>
            <a:schemeClr val="tx1"/>
          </a:solidFill>
          <a:latin typeface="+mn-lt"/>
        </a:defRPr>
      </a:lvl5pPr>
      <a:lvl6pPr marL="2462213" indent="-236538" algn="l" rtl="0" fontAlgn="base">
        <a:spcBef>
          <a:spcPct val="20000"/>
        </a:spcBef>
        <a:spcAft>
          <a:spcPct val="0"/>
        </a:spcAft>
        <a:buClr>
          <a:schemeClr val="tx1"/>
        </a:buClr>
        <a:buFont typeface="Wingdings" pitchFamily="2" charset="2"/>
        <a:buChar char="§"/>
        <a:defRPr sz="1200">
          <a:solidFill>
            <a:schemeClr val="tx1"/>
          </a:solidFill>
          <a:latin typeface="+mn-lt"/>
        </a:defRPr>
      </a:lvl6pPr>
      <a:lvl7pPr marL="2919413" indent="-236538" algn="l" rtl="0" fontAlgn="base">
        <a:spcBef>
          <a:spcPct val="20000"/>
        </a:spcBef>
        <a:spcAft>
          <a:spcPct val="0"/>
        </a:spcAft>
        <a:buClr>
          <a:schemeClr val="tx1"/>
        </a:buClr>
        <a:buFont typeface="Wingdings" pitchFamily="2" charset="2"/>
        <a:buChar char="§"/>
        <a:defRPr sz="1200">
          <a:solidFill>
            <a:schemeClr val="tx1"/>
          </a:solidFill>
          <a:latin typeface="+mn-lt"/>
        </a:defRPr>
      </a:lvl7pPr>
      <a:lvl8pPr marL="3376613" indent="-236538" algn="l" rtl="0" fontAlgn="base">
        <a:spcBef>
          <a:spcPct val="20000"/>
        </a:spcBef>
        <a:spcAft>
          <a:spcPct val="0"/>
        </a:spcAft>
        <a:buClr>
          <a:schemeClr val="tx1"/>
        </a:buClr>
        <a:buFont typeface="Wingdings" pitchFamily="2" charset="2"/>
        <a:buChar char="§"/>
        <a:defRPr sz="1200">
          <a:solidFill>
            <a:schemeClr val="tx1"/>
          </a:solidFill>
          <a:latin typeface="+mn-lt"/>
        </a:defRPr>
      </a:lvl8pPr>
      <a:lvl9pPr marL="3833813" indent="-236538" algn="l" rtl="0" fontAlgn="base">
        <a:spcBef>
          <a:spcPct val="20000"/>
        </a:spcBef>
        <a:spcAft>
          <a:spcPct val="0"/>
        </a:spcAft>
        <a:buClr>
          <a:schemeClr val="tx1"/>
        </a:buClr>
        <a:buFont typeface="Wingdings" pitchFamily="2" charset="2"/>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535518" y="514351"/>
            <a:ext cx="11127316" cy="25876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nvPr>
        </p:nvSpPr>
        <p:spPr bwMode="gray">
          <a:xfrm>
            <a:off x="529167" y="1154113"/>
            <a:ext cx="5353051"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gray">
          <a:xfrm>
            <a:off x="5954936" y="6661954"/>
            <a:ext cx="282129" cy="14683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F0760E85-8848-4F77-BD51-C59FE8B257B6}"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39" cstate="print"/>
          <a:srcRect/>
          <a:stretch>
            <a:fillRect/>
          </a:stretch>
        </p:blipFill>
        <p:spPr bwMode="gray">
          <a:xfrm>
            <a:off x="527051" y="6645275"/>
            <a:ext cx="920749" cy="139700"/>
          </a:xfrm>
          <a:prstGeom prst="rect">
            <a:avLst/>
          </a:prstGeom>
          <a:noFill/>
          <a:ln w="9525">
            <a:noFill/>
            <a:miter lim="800000"/>
            <a:headEnd/>
            <a:tailEnd/>
          </a:ln>
        </p:spPr>
      </p:pic>
      <p:sp>
        <p:nvSpPr>
          <p:cNvPr id="3699747"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Tree>
    <p:extLst>
      <p:ext uri="{BB962C8B-B14F-4D97-AF65-F5344CB8AC3E}">
        <p14:creationId xmlns:p14="http://schemas.microsoft.com/office/powerpoint/2010/main" val="82058630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Lst>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1026" name="MSTSHP_01"/>
          <p:cNvSpPr>
            <a:spLocks noGrp="1" noChangeArrowheads="1"/>
          </p:cNvSpPr>
          <p:nvPr>
            <p:ph type="title"/>
          </p:nvPr>
        </p:nvSpPr>
        <p:spPr bwMode="invGray">
          <a:xfrm>
            <a:off x="533400" y="407989"/>
            <a:ext cx="1111673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MSTSHP_02"/>
          <p:cNvSpPr>
            <a:spLocks noGrp="1" noChangeArrowheads="1"/>
          </p:cNvSpPr>
          <p:nvPr>
            <p:ph type="body" idx="1"/>
          </p:nvPr>
        </p:nvSpPr>
        <p:spPr bwMode="invGray">
          <a:xfrm>
            <a:off x="533400" y="1154113"/>
            <a:ext cx="11116733"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28" name="Text Box 5"/>
          <p:cNvSpPr txBox="1">
            <a:spLocks noChangeArrowheads="1"/>
          </p:cNvSpPr>
          <p:nvPr/>
        </p:nvSpPr>
        <p:spPr bwMode="invGray">
          <a:xfrm>
            <a:off x="5908705" y="6617792"/>
            <a:ext cx="376706" cy="195759"/>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fontAlgn="base">
              <a:lnSpc>
                <a:spcPct val="106000"/>
              </a:lnSpc>
              <a:spcBef>
                <a:spcPct val="0"/>
              </a:spcBef>
              <a:spcAft>
                <a:spcPct val="0"/>
              </a:spcAft>
              <a:buClr>
                <a:srgbClr val="000000"/>
              </a:buClr>
              <a:buSzPct val="65000"/>
              <a:buFont typeface="Wingdings" pitchFamily="2" charset="2"/>
              <a:buNone/>
            </a:pPr>
            <a:r>
              <a:rPr lang="en-US" sz="1200" dirty="0">
                <a:solidFill>
                  <a:srgbClr val="000000"/>
                </a:solidFill>
              </a:rPr>
              <a:t>- </a:t>
            </a:r>
            <a:fld id="{A638AD9D-C9EE-4A93-8904-756488E3458A}" type="slidenum">
              <a:rPr lang="en-US" sz="1200">
                <a:solidFill>
                  <a:srgbClr val="000000"/>
                </a:solidFill>
              </a:rPr>
              <a:pPr algn="ctr" fontAlgn="base">
                <a:lnSpc>
                  <a:spcPct val="106000"/>
                </a:lnSpc>
                <a:spcBef>
                  <a:spcPct val="0"/>
                </a:spcBef>
                <a:spcAft>
                  <a:spcPct val="0"/>
                </a:spcAft>
                <a:buClr>
                  <a:srgbClr val="000000"/>
                </a:buClr>
                <a:buSzPct val="65000"/>
                <a:buFont typeface="Wingdings" pitchFamily="2" charset="2"/>
                <a:buNone/>
              </a:pPr>
              <a:t>‹#›</a:t>
            </a:fld>
            <a:r>
              <a:rPr lang="en-US" sz="1200" dirty="0">
                <a:solidFill>
                  <a:srgbClr val="000000"/>
                </a:solidFill>
              </a:rPr>
              <a:t> -</a:t>
            </a:r>
          </a:p>
        </p:txBody>
      </p:sp>
      <p:sp>
        <p:nvSpPr>
          <p:cNvPr id="1030" name="Line 47"/>
          <p:cNvSpPr>
            <a:spLocks noChangeShapeType="1"/>
          </p:cNvSpPr>
          <p:nvPr/>
        </p:nvSpPr>
        <p:spPr bwMode="invGray">
          <a:xfrm>
            <a:off x="535517" y="803275"/>
            <a:ext cx="11114616" cy="0"/>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400" dirty="0">
              <a:solidFill>
                <a:srgbClr val="000000"/>
              </a:solidFill>
              <a:cs typeface="Arial" charset="0"/>
            </a:endParaRPr>
          </a:p>
        </p:txBody>
      </p:sp>
      <p:pic>
        <p:nvPicPr>
          <p:cNvPr id="1031" name="Picture 50" descr="DEL_COL"/>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gray">
          <a:xfrm>
            <a:off x="527051" y="6616700"/>
            <a:ext cx="1157816"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1018724"/>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Lst>
  <p:hf sldNum="0" hdr="0" dt="0"/>
  <p:txStyles>
    <p:titleStyle>
      <a:lvl1pPr algn="l"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charset="0"/>
        <a:buChar char="–"/>
        <a:defRPr sz="1600">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sz="1600">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gray">
          <a:xfrm>
            <a:off x="535518" y="514351"/>
            <a:ext cx="11127316" cy="25876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20483" name="Rectangle 3"/>
          <p:cNvSpPr>
            <a:spLocks noGrp="1" noChangeArrowheads="1"/>
          </p:cNvSpPr>
          <p:nvPr>
            <p:ph type="body" idx="1"/>
          </p:nvPr>
        </p:nvSpPr>
        <p:spPr bwMode="gray">
          <a:xfrm>
            <a:off x="529167" y="1154113"/>
            <a:ext cx="5344584"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gray">
          <a:xfrm>
            <a:off x="5954936" y="6661954"/>
            <a:ext cx="282129" cy="14683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2FF15FAD-1A70-42F1-B1E1-CF2ECE3B382E}"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20485" name="Picture 6" descr="DEL_COL"/>
          <p:cNvPicPr>
            <a:picLocks noChangeAspect="1" noChangeArrowheads="1"/>
          </p:cNvPicPr>
          <p:nvPr/>
        </p:nvPicPr>
        <p:blipFill>
          <a:blip r:embed="rId13" cstate="print"/>
          <a:srcRect/>
          <a:stretch>
            <a:fillRect/>
          </a:stretch>
        </p:blipFill>
        <p:spPr bwMode="gray">
          <a:xfrm>
            <a:off x="527051" y="6645275"/>
            <a:ext cx="920749" cy="139700"/>
          </a:xfrm>
          <a:prstGeom prst="rect">
            <a:avLst/>
          </a:prstGeom>
          <a:noFill/>
          <a:ln w="9525">
            <a:noFill/>
            <a:miter lim="800000"/>
            <a:headEnd/>
            <a:tailEnd/>
          </a:ln>
        </p:spPr>
      </p:pic>
      <p:sp>
        <p:nvSpPr>
          <p:cNvPr id="3699747"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Tree>
    <p:extLst>
      <p:ext uri="{BB962C8B-B14F-4D97-AF65-F5344CB8AC3E}">
        <p14:creationId xmlns:p14="http://schemas.microsoft.com/office/powerpoint/2010/main" val="2838319193"/>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hf hdr="0" ft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fontAlgn="base">
        <a:lnSpc>
          <a:spcPct val="106000"/>
        </a:lnSpc>
        <a:spcBef>
          <a:spcPct val="0"/>
        </a:spcBef>
        <a:spcAft>
          <a:spcPct val="0"/>
        </a:spcAft>
        <a:defRPr sz="1600" b="1">
          <a:solidFill>
            <a:schemeClr val="tx1"/>
          </a:solidFill>
          <a:latin typeface="Arial" charset="0"/>
        </a:defRPr>
      </a:lvl6pPr>
      <a:lvl7pPr marL="914400" algn="l" rtl="0" fontAlgn="base">
        <a:lnSpc>
          <a:spcPct val="106000"/>
        </a:lnSpc>
        <a:spcBef>
          <a:spcPct val="0"/>
        </a:spcBef>
        <a:spcAft>
          <a:spcPct val="0"/>
        </a:spcAft>
        <a:defRPr sz="1600" b="1">
          <a:solidFill>
            <a:schemeClr val="tx1"/>
          </a:solidFill>
          <a:latin typeface="Arial" charset="0"/>
        </a:defRPr>
      </a:lvl7pPr>
      <a:lvl8pPr marL="1371600" algn="l" rtl="0" fontAlgn="base">
        <a:lnSpc>
          <a:spcPct val="106000"/>
        </a:lnSpc>
        <a:spcBef>
          <a:spcPct val="0"/>
        </a:spcBef>
        <a:spcAft>
          <a:spcPct val="0"/>
        </a:spcAft>
        <a:defRPr sz="1600" b="1">
          <a:solidFill>
            <a:schemeClr val="tx1"/>
          </a:solidFill>
          <a:latin typeface="Arial" charset="0"/>
        </a:defRPr>
      </a:lvl8pPr>
      <a:lvl9pPr marL="1828800" algn="l" rtl="0" fontAlgn="base">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buChar char="•"/>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0482" name="MSTSHP_01"/>
          <p:cNvSpPr>
            <a:spLocks noGrp="1" noChangeArrowheads="1"/>
          </p:cNvSpPr>
          <p:nvPr>
            <p:ph type="title"/>
          </p:nvPr>
        </p:nvSpPr>
        <p:spPr bwMode="invGray">
          <a:xfrm>
            <a:off x="533400" y="407989"/>
            <a:ext cx="11116733"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483" name="MSTSHP_02"/>
          <p:cNvSpPr>
            <a:spLocks noGrp="1" noChangeArrowheads="1"/>
          </p:cNvSpPr>
          <p:nvPr>
            <p:ph type="body" idx="1"/>
          </p:nvPr>
        </p:nvSpPr>
        <p:spPr bwMode="invGray">
          <a:xfrm>
            <a:off x="533400" y="1154113"/>
            <a:ext cx="11116733" cy="147360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699717" name="Text Box 5"/>
          <p:cNvSpPr txBox="1">
            <a:spLocks noChangeArrowheads="1"/>
          </p:cNvSpPr>
          <p:nvPr/>
        </p:nvSpPr>
        <p:spPr bwMode="invGray">
          <a:xfrm>
            <a:off x="5908705" y="6617792"/>
            <a:ext cx="376706" cy="195759"/>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a:solidFill>
                  <a:srgbClr val="000000"/>
                </a:solidFill>
                <a:cs typeface="Arial" pitchFamily="34" charset="0"/>
              </a:rPr>
              <a:t>- </a:t>
            </a:r>
            <a:fld id="{8A6F8725-46BC-4E9B-BA01-16DD5B7B8FB0}" type="slidenum">
              <a:rPr lang="en-US" sz="1200">
                <a:solidFill>
                  <a:srgbClr val="000000"/>
                </a:solidFill>
                <a:cs typeface="Arial" pitchFamily="34"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cs typeface="Arial" pitchFamily="34" charset="0"/>
              </a:rPr>
              <a:t> -</a:t>
            </a:r>
          </a:p>
        </p:txBody>
      </p:sp>
      <p:sp>
        <p:nvSpPr>
          <p:cNvPr id="3699759" name="Line 47"/>
          <p:cNvSpPr>
            <a:spLocks noChangeShapeType="1"/>
          </p:cNvSpPr>
          <p:nvPr/>
        </p:nvSpPr>
        <p:spPr bwMode="invGray">
          <a:xfrm>
            <a:off x="535517" y="803275"/>
            <a:ext cx="11114616" cy="0"/>
          </a:xfrm>
          <a:prstGeom prst="line">
            <a:avLst/>
          </a:prstGeom>
          <a:noFill/>
          <a:ln w="28575">
            <a:solidFill>
              <a:schemeClr val="accent1"/>
            </a:solidFill>
            <a:round/>
            <a:headEnd/>
            <a:tailEnd/>
          </a:ln>
          <a:effectLst/>
        </p:spPr>
        <p:txBody>
          <a:bodyPr wrap="none" anchor="ctr"/>
          <a:lstStyle/>
          <a:p>
            <a:pPr fontAlgn="base">
              <a:lnSpc>
                <a:spcPct val="106000"/>
              </a:lnSpc>
              <a:spcBef>
                <a:spcPct val="0"/>
              </a:spcBef>
              <a:spcAft>
                <a:spcPct val="0"/>
              </a:spcAft>
              <a:buFont typeface="Wingdings 2" pitchFamily="18" charset="2"/>
              <a:buNone/>
              <a:defRPr/>
            </a:pPr>
            <a:endParaRPr lang="en-US" sz="2400" dirty="0">
              <a:solidFill>
                <a:srgbClr val="000000"/>
              </a:solidFill>
              <a:cs typeface="Arial" pitchFamily="34" charset="0"/>
            </a:endParaRPr>
          </a:p>
        </p:txBody>
      </p:sp>
      <p:pic>
        <p:nvPicPr>
          <p:cNvPr id="20488" name="Picture 50" descr="DEL_COL"/>
          <p:cNvPicPr>
            <a:picLocks noChangeArrowheads="1"/>
          </p:cNvPicPr>
          <p:nvPr/>
        </p:nvPicPr>
        <p:blipFill>
          <a:blip r:embed="rId36" cstate="print"/>
          <a:srcRect/>
          <a:stretch>
            <a:fillRect/>
          </a:stretch>
        </p:blipFill>
        <p:spPr bwMode="gray">
          <a:xfrm>
            <a:off x="527051" y="6616700"/>
            <a:ext cx="1157816" cy="165100"/>
          </a:xfrm>
          <a:prstGeom prst="rect">
            <a:avLst/>
          </a:prstGeom>
          <a:noFill/>
          <a:ln w="9525">
            <a:noFill/>
            <a:miter lim="800000"/>
            <a:headEnd/>
            <a:tailEnd/>
          </a:ln>
        </p:spPr>
      </p:pic>
    </p:spTree>
    <p:extLst>
      <p:ext uri="{BB962C8B-B14F-4D97-AF65-F5344CB8AC3E}">
        <p14:creationId xmlns:p14="http://schemas.microsoft.com/office/powerpoint/2010/main" val="1153597337"/>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Lst>
  <p:timing>
    <p:tnLst>
      <p:par>
        <p:cTn id="1" dur="indefinite" restart="never" nodeType="tmRoot"/>
      </p:par>
    </p:tnLst>
  </p:timing>
  <p:txStyles>
    <p:titleStyle>
      <a:lvl1pPr algn="l"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lnSpc>
          <a:spcPct val="106000"/>
        </a:lnSpc>
        <a:spcBef>
          <a:spcPct val="40000"/>
        </a:spcBef>
        <a:spcAft>
          <a:spcPct val="0"/>
        </a:spcAft>
        <a:buClr>
          <a:schemeClr val="tx1"/>
        </a:buClr>
        <a:buSzPct val="80000"/>
        <a:buFont typeface="Wingdings" pitchFamily="2" charset="2"/>
        <a:defRPr sz="2000">
          <a:solidFill>
            <a:schemeClr val="tx1"/>
          </a:solidFill>
          <a:latin typeface="+mn-lt"/>
          <a:ea typeface="+mn-ea"/>
          <a:cs typeface="+mn-cs"/>
        </a:defRPr>
      </a:lvl1pPr>
      <a:lvl2pPr marL="227013" indent="-225425" algn="l" rtl="0" eaLnBrk="1" fontAlgn="base" hangingPunct="1">
        <a:lnSpc>
          <a:spcPct val="106000"/>
        </a:lnSpc>
        <a:spcBef>
          <a:spcPct val="40000"/>
        </a:spcBef>
        <a:spcAft>
          <a:spcPct val="0"/>
        </a:spcAft>
        <a:buClr>
          <a:schemeClr val="tx1"/>
        </a:buClr>
        <a:buFont typeface="Wingdings 2" pitchFamily="18" charset="2"/>
        <a:buChar char="¡"/>
        <a:defRPr sz="2000">
          <a:solidFill>
            <a:schemeClr val="tx1"/>
          </a:solidFill>
          <a:latin typeface="+mn-lt"/>
        </a:defRPr>
      </a:lvl2pPr>
      <a:lvl3pPr marL="457200" indent="-228600" algn="l" rtl="0" eaLnBrk="1" fontAlgn="base" hangingPunct="1">
        <a:lnSpc>
          <a:spcPct val="106000"/>
        </a:lnSpc>
        <a:spcBef>
          <a:spcPct val="20000"/>
        </a:spcBef>
        <a:spcAft>
          <a:spcPct val="0"/>
        </a:spcAft>
        <a:buClr>
          <a:schemeClr val="tx1"/>
        </a:buClr>
        <a:buFont typeface="Arial" pitchFamily="34" charset="0"/>
        <a:buChar char="–"/>
        <a:defRPr>
          <a:solidFill>
            <a:schemeClr val="tx1"/>
          </a:solidFill>
          <a:latin typeface="+mn-lt"/>
        </a:defRPr>
      </a:lvl3pPr>
      <a:lvl4pPr marL="681038" indent="-222250" algn="l" rtl="0" eaLnBrk="1" fontAlgn="base" hangingPunct="1">
        <a:lnSpc>
          <a:spcPct val="106000"/>
        </a:lnSpc>
        <a:spcBef>
          <a:spcPct val="20000"/>
        </a:spcBef>
        <a:spcAft>
          <a:spcPct val="0"/>
        </a:spcAft>
        <a:buClr>
          <a:schemeClr val="tx1"/>
        </a:buClr>
        <a:buChar char="•"/>
        <a:defRPr>
          <a:solidFill>
            <a:schemeClr val="tx1"/>
          </a:solidFill>
          <a:latin typeface="+mn-lt"/>
        </a:defRPr>
      </a:lvl4pPr>
      <a:lvl5pPr marL="1722438" indent="-236538" algn="l" rtl="0" eaLnBrk="1" fontAlgn="base" hangingPunct="1">
        <a:spcBef>
          <a:spcPct val="20000"/>
        </a:spcBef>
        <a:spcAft>
          <a:spcPct val="0"/>
        </a:spcAft>
        <a:buClr>
          <a:schemeClr val="tx1"/>
        </a:buClr>
        <a:buChar char="–"/>
        <a:defRPr sz="1200">
          <a:solidFill>
            <a:schemeClr val="tx1"/>
          </a:solidFill>
          <a:latin typeface="+mn-lt"/>
        </a:defRPr>
      </a:lvl5pPr>
      <a:lvl6pPr marL="2179638" indent="-236538" algn="l" rtl="0" eaLnBrk="1" fontAlgn="base" hangingPunct="1">
        <a:spcBef>
          <a:spcPct val="20000"/>
        </a:spcBef>
        <a:spcAft>
          <a:spcPct val="0"/>
        </a:spcAft>
        <a:buClr>
          <a:schemeClr val="tx1"/>
        </a:buClr>
        <a:buChar char="–"/>
        <a:defRPr sz="1200">
          <a:solidFill>
            <a:schemeClr val="tx1"/>
          </a:solidFill>
          <a:latin typeface="+mn-lt"/>
        </a:defRPr>
      </a:lvl6pPr>
      <a:lvl7pPr marL="2636838" indent="-236538" algn="l" rtl="0" eaLnBrk="1" fontAlgn="base" hangingPunct="1">
        <a:spcBef>
          <a:spcPct val="20000"/>
        </a:spcBef>
        <a:spcAft>
          <a:spcPct val="0"/>
        </a:spcAft>
        <a:buClr>
          <a:schemeClr val="tx1"/>
        </a:buClr>
        <a:buChar char="–"/>
        <a:defRPr sz="1200">
          <a:solidFill>
            <a:schemeClr val="tx1"/>
          </a:solidFill>
          <a:latin typeface="+mn-lt"/>
        </a:defRPr>
      </a:lvl7pPr>
      <a:lvl8pPr marL="3094038" indent="-236538" algn="l" rtl="0" eaLnBrk="1" fontAlgn="base" hangingPunct="1">
        <a:spcBef>
          <a:spcPct val="20000"/>
        </a:spcBef>
        <a:spcAft>
          <a:spcPct val="0"/>
        </a:spcAft>
        <a:buClr>
          <a:schemeClr val="tx1"/>
        </a:buClr>
        <a:buChar char="–"/>
        <a:defRPr sz="1200">
          <a:solidFill>
            <a:schemeClr val="tx1"/>
          </a:solidFill>
          <a:latin typeface="+mn-lt"/>
        </a:defRPr>
      </a:lvl8pPr>
      <a:lvl9pPr marL="3551238"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535518" y="514351"/>
            <a:ext cx="11127316" cy="25876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nvPr>
        </p:nvSpPr>
        <p:spPr bwMode="gray">
          <a:xfrm>
            <a:off x="529167" y="1154113"/>
            <a:ext cx="5353051"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gray">
          <a:xfrm>
            <a:off x="5954936" y="6661954"/>
            <a:ext cx="282129" cy="14683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900" dirty="0">
                <a:solidFill>
                  <a:srgbClr val="000000"/>
                </a:solidFill>
                <a:cs typeface="Arial" charset="0"/>
              </a:rPr>
              <a:t>- </a:t>
            </a:r>
            <a:fld id="{F0760E85-8848-4F77-BD51-C59FE8B257B6}" type="slidenum">
              <a:rPr lang="en-US" sz="900">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900" dirty="0">
                <a:solidFill>
                  <a:srgbClr val="000000"/>
                </a:solidFill>
                <a:cs typeface="Arial" charset="0"/>
              </a:rPr>
              <a:t> -</a:t>
            </a:r>
          </a:p>
        </p:txBody>
      </p:sp>
      <p:pic>
        <p:nvPicPr>
          <p:cNvPr id="11269" name="Picture 6" descr="DEL_COL"/>
          <p:cNvPicPr>
            <a:picLocks noChangeAspect="1" noChangeArrowheads="1"/>
          </p:cNvPicPr>
          <p:nvPr/>
        </p:nvPicPr>
        <p:blipFill>
          <a:blip r:embed="rId47" cstate="print"/>
          <a:srcRect/>
          <a:stretch>
            <a:fillRect/>
          </a:stretch>
        </p:blipFill>
        <p:spPr bwMode="gray">
          <a:xfrm>
            <a:off x="527051" y="6645275"/>
            <a:ext cx="920749" cy="139700"/>
          </a:xfrm>
          <a:prstGeom prst="rect">
            <a:avLst/>
          </a:prstGeom>
          <a:noFill/>
          <a:ln w="9525">
            <a:noFill/>
            <a:miter lim="800000"/>
            <a:headEnd/>
            <a:tailEnd/>
          </a:ln>
        </p:spPr>
      </p:pic>
      <p:sp>
        <p:nvSpPr>
          <p:cNvPr id="3699747" name="Line 35"/>
          <p:cNvSpPr>
            <a:spLocks noChangeShapeType="1"/>
          </p:cNvSpPr>
          <p:nvPr/>
        </p:nvSpPr>
        <p:spPr bwMode="gray">
          <a:xfrm>
            <a:off x="522817" y="806450"/>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charset="0"/>
            </a:endParaRPr>
          </a:p>
        </p:txBody>
      </p:sp>
    </p:spTree>
    <p:extLst>
      <p:ext uri="{BB962C8B-B14F-4D97-AF65-F5344CB8AC3E}">
        <p14:creationId xmlns:p14="http://schemas.microsoft.com/office/powerpoint/2010/main" val="140902486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4033" r:id="rId34"/>
    <p:sldLayoutId id="2147484034" r:id="rId35"/>
    <p:sldLayoutId id="2147484035" r:id="rId36"/>
    <p:sldLayoutId id="2147484036" r:id="rId37"/>
    <p:sldLayoutId id="2147484037" r:id="rId38"/>
    <p:sldLayoutId id="2147484038" r:id="rId39"/>
    <p:sldLayoutId id="2147484040" r:id="rId40"/>
    <p:sldLayoutId id="2147484041" r:id="rId41"/>
    <p:sldLayoutId id="2147484042" r:id="rId42"/>
    <p:sldLayoutId id="2147484043" r:id="rId43"/>
    <p:sldLayoutId id="2147484044" r:id="rId44"/>
    <p:sldLayoutId id="2147484045" r:id="rId45"/>
  </p:sldLayoutIdLst>
  <p:txStyles>
    <p:titleStyle>
      <a:lvl1pPr algn="l" rtl="0" eaLnBrk="1" fontAlgn="base" hangingPunct="1">
        <a:lnSpc>
          <a:spcPct val="106000"/>
        </a:lnSpc>
        <a:spcBef>
          <a:spcPct val="0"/>
        </a:spcBef>
        <a:spcAft>
          <a:spcPct val="0"/>
        </a:spcAft>
        <a:defRPr sz="1600" b="1">
          <a:solidFill>
            <a:schemeClr val="tx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50" name="Line 18"/>
          <p:cNvSpPr>
            <a:spLocks noChangeShapeType="1"/>
          </p:cNvSpPr>
          <p:nvPr/>
        </p:nvSpPr>
        <p:spPr bwMode="gray">
          <a:xfrm>
            <a:off x="522817" y="806450"/>
            <a:ext cx="11140016"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lnSpc>
                <a:spcPct val="106000"/>
              </a:lnSpc>
              <a:spcBef>
                <a:spcPct val="0"/>
              </a:spcBef>
              <a:spcAft>
                <a:spcPct val="0"/>
              </a:spcAft>
            </a:pPr>
            <a:endParaRPr lang="en-US" sz="1100" b="1" dirty="0">
              <a:solidFill>
                <a:srgbClr val="000000"/>
              </a:solidFill>
            </a:endParaRPr>
          </a:p>
        </p:txBody>
      </p:sp>
      <p:sp>
        <p:nvSpPr>
          <p:cNvPr id="2051" name="Rectangle 2"/>
          <p:cNvSpPr>
            <a:spLocks noGrp="1" noChangeArrowheads="1"/>
          </p:cNvSpPr>
          <p:nvPr>
            <p:ph type="title"/>
          </p:nvPr>
        </p:nvSpPr>
        <p:spPr bwMode="gray">
          <a:xfrm>
            <a:off x="529167" y="514351"/>
            <a:ext cx="1112731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2052" name="Rectangle 3"/>
          <p:cNvSpPr>
            <a:spLocks noGrp="1" noChangeArrowheads="1"/>
          </p:cNvSpPr>
          <p:nvPr>
            <p:ph type="body" idx="1"/>
          </p:nvPr>
        </p:nvSpPr>
        <p:spPr bwMode="gray">
          <a:xfrm>
            <a:off x="529167" y="1154113"/>
            <a:ext cx="5344584"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ext Box 5"/>
          <p:cNvSpPr txBox="1">
            <a:spLocks noChangeArrowheads="1"/>
          </p:cNvSpPr>
          <p:nvPr/>
        </p:nvSpPr>
        <p:spPr bwMode="invGray">
          <a:xfrm>
            <a:off x="5972023" y="6683066"/>
            <a:ext cx="250068" cy="130485"/>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fontAlgn="base">
              <a:lnSpc>
                <a:spcPct val="106000"/>
              </a:lnSpc>
              <a:spcBef>
                <a:spcPct val="0"/>
              </a:spcBef>
              <a:spcAft>
                <a:spcPct val="0"/>
              </a:spcAft>
              <a:buClr>
                <a:srgbClr val="000000"/>
              </a:buClr>
              <a:buSzPct val="65000"/>
              <a:buFont typeface="Wingdings" pitchFamily="2" charset="2"/>
              <a:buNone/>
            </a:pPr>
            <a:r>
              <a:rPr lang="en-US" sz="800" dirty="0">
                <a:solidFill>
                  <a:srgbClr val="000000"/>
                </a:solidFill>
              </a:rPr>
              <a:t>- </a:t>
            </a:r>
            <a:fld id="{A638AD9D-C9EE-4A93-8904-756488E3458A}" type="slidenum">
              <a:rPr lang="en-US" sz="800">
                <a:solidFill>
                  <a:srgbClr val="000000"/>
                </a:solidFill>
              </a:rPr>
              <a:pPr algn="ctr" fontAlgn="base">
                <a:lnSpc>
                  <a:spcPct val="106000"/>
                </a:lnSpc>
                <a:spcBef>
                  <a:spcPct val="0"/>
                </a:spcBef>
                <a:spcAft>
                  <a:spcPct val="0"/>
                </a:spcAft>
                <a:buClr>
                  <a:srgbClr val="000000"/>
                </a:buClr>
                <a:buSzPct val="65000"/>
                <a:buFont typeface="Wingdings" pitchFamily="2" charset="2"/>
                <a:buNone/>
              </a:pPr>
              <a:t>‹#›</a:t>
            </a:fld>
            <a:r>
              <a:rPr lang="en-US" sz="800" dirty="0">
                <a:solidFill>
                  <a:srgbClr val="000000"/>
                </a:solidFill>
              </a:rPr>
              <a:t> -</a:t>
            </a:r>
          </a:p>
        </p:txBody>
      </p:sp>
    </p:spTree>
    <p:extLst>
      <p:ext uri="{BB962C8B-B14F-4D97-AF65-F5344CB8AC3E}">
        <p14:creationId xmlns:p14="http://schemas.microsoft.com/office/powerpoint/2010/main" val="4077647545"/>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Lst>
  <p:timing>
    <p:tnLst>
      <p:par>
        <p:cTn id="1" dur="indefinite" restart="never" nodeType="tmRoot"/>
      </p:par>
    </p:tnLst>
  </p:timing>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fontAlgn="base">
        <a:lnSpc>
          <a:spcPct val="106000"/>
        </a:lnSpc>
        <a:spcBef>
          <a:spcPct val="0"/>
        </a:spcBef>
        <a:spcAft>
          <a:spcPct val="0"/>
        </a:spcAft>
        <a:defRPr sz="1600" b="1">
          <a:solidFill>
            <a:schemeClr val="tx1"/>
          </a:solidFill>
          <a:latin typeface="Arial" charset="0"/>
        </a:defRPr>
      </a:lvl6pPr>
      <a:lvl7pPr marL="914400" algn="l" rtl="0" fontAlgn="base">
        <a:lnSpc>
          <a:spcPct val="106000"/>
        </a:lnSpc>
        <a:spcBef>
          <a:spcPct val="0"/>
        </a:spcBef>
        <a:spcAft>
          <a:spcPct val="0"/>
        </a:spcAft>
        <a:defRPr sz="1600" b="1">
          <a:solidFill>
            <a:schemeClr val="tx1"/>
          </a:solidFill>
          <a:latin typeface="Arial" charset="0"/>
        </a:defRPr>
      </a:lvl7pPr>
      <a:lvl8pPr marL="1371600" algn="l" rtl="0" fontAlgn="base">
        <a:lnSpc>
          <a:spcPct val="106000"/>
        </a:lnSpc>
        <a:spcBef>
          <a:spcPct val="0"/>
        </a:spcBef>
        <a:spcAft>
          <a:spcPct val="0"/>
        </a:spcAft>
        <a:defRPr sz="1600" b="1">
          <a:solidFill>
            <a:schemeClr val="tx1"/>
          </a:solidFill>
          <a:latin typeface="Arial" charset="0"/>
        </a:defRPr>
      </a:lvl8pPr>
      <a:lvl9pPr marL="1828800" algn="l" rtl="0" fontAlgn="base">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buFont typeface="Wingdings" pitchFamily="2" charset="2"/>
        <a:defRPr sz="13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3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1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1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1.png"/><Relationship Id="rId2" Type="http://schemas.openxmlformats.org/officeDocument/2006/relationships/slideLayout" Target="../slideLayouts/slideLayout23.xml"/><Relationship Id="rId1" Type="http://schemas.openxmlformats.org/officeDocument/2006/relationships/tags" Target="../tags/tag4.xml"/><Relationship Id="rId6" Type="http://schemas.openxmlformats.org/officeDocument/2006/relationships/image" Target="../media/image20.png"/><Relationship Id="rId5" Type="http://schemas.openxmlformats.org/officeDocument/2006/relationships/hyperlink" Target="development.deloitte.com/mdp" TargetMode="Externa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3.xml"/><Relationship Id="rId1" Type="http://schemas.openxmlformats.org/officeDocument/2006/relationships/slideLayout" Target="../slideLayouts/slideLayout21.xml"/><Relationship Id="rId4" Type="http://schemas.openxmlformats.org/officeDocument/2006/relationships/hyperlink" Target="http://www.deloitte.com/us/about"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758" y="1897603"/>
            <a:ext cx="7406642" cy="842400"/>
          </a:xfrm>
        </p:spPr>
        <p:txBody>
          <a:bodyPr/>
          <a:lstStyle/>
          <a:p>
            <a:r>
              <a:rPr lang="en-US" dirty="0" smtClean="0"/>
              <a:t>The Future Of Learning – It is Already Here!</a:t>
            </a:r>
            <a:endParaRPr lang="en-US" dirty="0"/>
          </a:p>
        </p:txBody>
      </p:sp>
      <p:sp>
        <p:nvSpPr>
          <p:cNvPr id="6" name="TextBox 5"/>
          <p:cNvSpPr txBox="1"/>
          <p:nvPr/>
        </p:nvSpPr>
        <p:spPr bwMode="gray">
          <a:xfrm>
            <a:off x="1889761" y="4199072"/>
            <a:ext cx="4628561" cy="1143008"/>
          </a:xfrm>
          <a:prstGeom prst="rect">
            <a:avLst/>
          </a:prstGeom>
          <a:noFill/>
        </p:spPr>
        <p:txBody>
          <a:bodyPr wrap="none" lIns="0" tIns="0" rIns="0" bIns="0" rtlCol="0">
            <a:noAutofit/>
          </a:bodyPr>
          <a:lstStyle/>
          <a:p>
            <a:endParaRPr lang="en-US" sz="1400" dirty="0">
              <a:solidFill>
                <a:srgbClr val="313131"/>
              </a:solidFill>
            </a:endParaRPr>
          </a:p>
          <a:p>
            <a:endParaRPr lang="en-US" sz="1400" dirty="0">
              <a:solidFill>
                <a:srgbClr val="313131"/>
              </a:solidFill>
            </a:endParaRPr>
          </a:p>
          <a:p>
            <a:endParaRPr lang="en-US" sz="1400" dirty="0">
              <a:solidFill>
                <a:srgbClr val="313131"/>
              </a:solidFill>
            </a:endParaRPr>
          </a:p>
          <a:p>
            <a:endParaRPr lang="en-US" sz="1400" dirty="0">
              <a:solidFill>
                <a:srgbClr val="313131"/>
              </a:solidFill>
            </a:endParaRPr>
          </a:p>
          <a:p>
            <a:r>
              <a:rPr lang="en-US" sz="1400" dirty="0">
                <a:solidFill>
                  <a:srgbClr val="313131"/>
                </a:solidFill>
              </a:rPr>
              <a:t>September 11, 2015</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8172" y="3360057"/>
            <a:ext cx="5018314" cy="3345543"/>
          </a:xfrm>
          <a:prstGeom prst="rect">
            <a:avLst/>
          </a:prstGeom>
          <a:effectLst>
            <a:softEdge rad="63500"/>
          </a:effectLst>
        </p:spPr>
      </p:pic>
    </p:spTree>
    <p:extLst>
      <p:ext uri="{BB962C8B-B14F-4D97-AF65-F5344CB8AC3E}">
        <p14:creationId xmlns:p14="http://schemas.microsoft.com/office/powerpoint/2010/main" val="268413093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1" name="Straight Arrow Connector 70"/>
          <p:cNvCxnSpPr/>
          <p:nvPr/>
        </p:nvCxnSpPr>
        <p:spPr>
          <a:xfrm>
            <a:off x="7065060" y="4404074"/>
            <a:ext cx="2964805"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70" name="Straight Arrow Connector 69"/>
          <p:cNvCxnSpPr/>
          <p:nvPr/>
        </p:nvCxnSpPr>
        <p:spPr>
          <a:xfrm>
            <a:off x="4862004" y="2484894"/>
            <a:ext cx="0" cy="164592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67" name="Straight Connector 66"/>
          <p:cNvCxnSpPr/>
          <p:nvPr/>
        </p:nvCxnSpPr>
        <p:spPr>
          <a:xfrm>
            <a:off x="2559740" y="2290014"/>
            <a:ext cx="19376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5312812" y="5288924"/>
            <a:ext cx="4774850" cy="0"/>
          </a:xfrm>
          <a:prstGeom prst="straightConnector1">
            <a:avLst/>
          </a:prstGeom>
          <a:ln w="19050">
            <a:tailEnd type="triangle"/>
          </a:ln>
        </p:spPr>
        <p:style>
          <a:lnRef idx="1">
            <a:schemeClr val="accent5"/>
          </a:lnRef>
          <a:fillRef idx="0">
            <a:schemeClr val="accent5"/>
          </a:fillRef>
          <a:effectRef idx="0">
            <a:schemeClr val="accent5"/>
          </a:effectRef>
          <a:fontRef idx="minor">
            <a:schemeClr val="tx1"/>
          </a:fontRef>
        </p:style>
      </p:cxnSp>
      <p:cxnSp>
        <p:nvCxnSpPr>
          <p:cNvPr id="26" name="Straight Connector 25"/>
          <p:cNvCxnSpPr/>
          <p:nvPr/>
        </p:nvCxnSpPr>
        <p:spPr>
          <a:xfrm>
            <a:off x="7593639" y="2524765"/>
            <a:ext cx="0" cy="52716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22" name="Straight Connector 21"/>
          <p:cNvCxnSpPr/>
          <p:nvPr/>
        </p:nvCxnSpPr>
        <p:spPr>
          <a:xfrm>
            <a:off x="5934723" y="2558583"/>
            <a:ext cx="0" cy="527167"/>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a:off x="2069974" y="2558583"/>
            <a:ext cx="0" cy="527167"/>
          </a:xfrm>
          <a:prstGeom prst="line">
            <a:avLst/>
          </a:prstGeom>
          <a:ln w="19050"/>
        </p:spPr>
        <p:style>
          <a:lnRef idx="1">
            <a:schemeClr val="accent5"/>
          </a:lnRef>
          <a:fillRef idx="0">
            <a:schemeClr val="accent5"/>
          </a:fillRef>
          <a:effectRef idx="0">
            <a:schemeClr val="accent5"/>
          </a:effectRef>
          <a:fontRef idx="minor">
            <a:schemeClr val="tx1"/>
          </a:fontRef>
        </p:style>
      </p:cxnSp>
      <p:sp>
        <p:nvSpPr>
          <p:cNvPr id="7" name="Rectangle 6"/>
          <p:cNvSpPr/>
          <p:nvPr/>
        </p:nvSpPr>
        <p:spPr bwMode="gray">
          <a:xfrm>
            <a:off x="1889760" y="1440957"/>
            <a:ext cx="8412480" cy="753425"/>
          </a:xfrm>
          <a:prstGeom prst="rect">
            <a:avLst/>
          </a:prstGeom>
          <a:noFill/>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2" name="Text Placeholder 1"/>
          <p:cNvSpPr>
            <a:spLocks noGrp="1"/>
          </p:cNvSpPr>
          <p:nvPr>
            <p:ph type="body" sz="quarter" idx="13"/>
          </p:nvPr>
        </p:nvSpPr>
        <p:spPr/>
        <p:txBody>
          <a:bodyPr/>
          <a:lstStyle/>
          <a:p>
            <a:r>
              <a:rPr lang="en-US" dirty="0" smtClean="0"/>
              <a:t>The following roadmap illustrates one Audit Professional’s journey to build Audit Excellence across the learning year</a:t>
            </a:r>
            <a:endParaRPr lang="en-US" dirty="0"/>
          </a:p>
        </p:txBody>
      </p:sp>
      <p:pic>
        <p:nvPicPr>
          <p:cNvPr id="5" name="Picture 2" descr="http://i.huffpost.com/gen/1335216/thumbs/o-HAPPY-BUSINESS-WOMAN-faceboo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1895" y="1477137"/>
            <a:ext cx="439448" cy="6591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559740" y="1477137"/>
            <a:ext cx="7742500" cy="669414"/>
          </a:xfrm>
          <a:prstGeom prst="rect">
            <a:avLst/>
          </a:prstGeom>
          <a:noFill/>
        </p:spPr>
        <p:txBody>
          <a:bodyPr wrap="square" lIns="0" tIns="0" rIns="0" bIns="0" rtlCol="0">
            <a:spAutoFit/>
          </a:bodyPr>
          <a:lstStyle/>
          <a:p>
            <a:pPr>
              <a:spcAft>
                <a:spcPts val="300"/>
              </a:spcAft>
              <a:buSzPct val="25000"/>
            </a:pPr>
            <a:r>
              <a:rPr lang="en-US" sz="1100" b="1" dirty="0">
                <a:solidFill>
                  <a:prstClr val="black"/>
                </a:solidFill>
              </a:rPr>
              <a:t>Learner Profile: </a:t>
            </a:r>
          </a:p>
          <a:p>
            <a:pPr>
              <a:spcAft>
                <a:spcPts val="300"/>
              </a:spcAft>
              <a:buSzPct val="25000"/>
            </a:pPr>
            <a:r>
              <a:rPr lang="en-US" sz="1000" dirty="0">
                <a:solidFill>
                  <a:prstClr val="black"/>
                </a:solidFill>
              </a:rPr>
              <a:t>Jen is a second-year Senior and has been in her current role on a large pharmaceutical client for the past two years. Jen has been increasing the scope of her responsibilities across multiple roles, and this year her engagement Partner is counting on her to act as a mentor to two new team members.  </a:t>
            </a:r>
          </a:p>
        </p:txBody>
      </p:sp>
      <p:sp>
        <p:nvSpPr>
          <p:cNvPr id="13" name="Rounded Rectangle 12"/>
          <p:cNvSpPr/>
          <p:nvPr/>
        </p:nvSpPr>
        <p:spPr bwMode="gray">
          <a:xfrm>
            <a:off x="1745942" y="2928698"/>
            <a:ext cx="1589103" cy="1202134"/>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900" dirty="0">
                <a:solidFill>
                  <a:prstClr val="black"/>
                </a:solidFill>
              </a:rPr>
              <a:t>Jen receives an email notification prompting her to sign up for her preferred Learning Week for Building Audit Excellence </a:t>
            </a:r>
          </a:p>
        </p:txBody>
      </p:sp>
      <p:sp>
        <p:nvSpPr>
          <p:cNvPr id="14" name="Rounded Rectangle 13"/>
          <p:cNvSpPr/>
          <p:nvPr/>
        </p:nvSpPr>
        <p:spPr bwMode="gray">
          <a:xfrm>
            <a:off x="3743418" y="2928699"/>
            <a:ext cx="1715255" cy="992733"/>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900" dirty="0">
                <a:solidFill>
                  <a:prstClr val="black"/>
                </a:solidFill>
              </a:rPr>
              <a:t>Jen completes an assessment to document her skills, experiences and proficiency against career level expectations</a:t>
            </a:r>
          </a:p>
        </p:txBody>
      </p:sp>
      <p:graphicFrame>
        <p:nvGraphicFramePr>
          <p:cNvPr id="17" name="Table 16"/>
          <p:cNvGraphicFramePr>
            <a:graphicFrameLocks noGrp="1"/>
          </p:cNvGraphicFramePr>
          <p:nvPr>
            <p:extLst/>
          </p:nvPr>
        </p:nvGraphicFramePr>
        <p:xfrm>
          <a:off x="1889760" y="2381930"/>
          <a:ext cx="8412482" cy="243840"/>
        </p:xfrm>
        <a:graphic>
          <a:graphicData uri="http://schemas.openxmlformats.org/drawingml/2006/table">
            <a:tbl>
              <a:tblPr firstRow="1" bandRow="1">
                <a:tableStyleId>{5C22544A-7EE6-4342-B048-85BDC9FD1C3A}</a:tableStyleId>
              </a:tblPr>
              <a:tblGrid>
                <a:gridCol w="647114"/>
                <a:gridCol w="647114"/>
                <a:gridCol w="647114"/>
                <a:gridCol w="647114"/>
                <a:gridCol w="647114"/>
                <a:gridCol w="647114"/>
                <a:gridCol w="647114"/>
                <a:gridCol w="647114"/>
                <a:gridCol w="647114"/>
                <a:gridCol w="647114"/>
                <a:gridCol w="647114"/>
                <a:gridCol w="647114"/>
                <a:gridCol w="647114"/>
              </a:tblGrid>
              <a:tr h="232003">
                <a:tc>
                  <a:txBody>
                    <a:bodyPr/>
                    <a:lstStyle/>
                    <a:p>
                      <a:pPr algn="ctr"/>
                      <a:r>
                        <a:rPr lang="en-US" sz="1000" dirty="0" smtClean="0"/>
                        <a:t>Dec</a:t>
                      </a:r>
                      <a:endParaRPr lang="en-US" sz="1000" dirty="0"/>
                    </a:p>
                  </a:txBody>
                  <a:tcPr anchor="ctr"/>
                </a:tc>
                <a:tc>
                  <a:txBody>
                    <a:bodyPr/>
                    <a:lstStyle/>
                    <a:p>
                      <a:pPr algn="ctr"/>
                      <a:r>
                        <a:rPr lang="en-US" sz="1000" dirty="0" smtClean="0"/>
                        <a:t>Jan</a:t>
                      </a:r>
                      <a:endParaRPr lang="en-US" sz="1000" dirty="0"/>
                    </a:p>
                  </a:txBody>
                  <a:tcPr anchor="ctr">
                    <a:solidFill>
                      <a:srgbClr val="BFBFBF"/>
                    </a:solidFill>
                  </a:tcPr>
                </a:tc>
                <a:tc>
                  <a:txBody>
                    <a:bodyPr/>
                    <a:lstStyle/>
                    <a:p>
                      <a:pPr algn="ctr"/>
                      <a:r>
                        <a:rPr lang="en-US" sz="1000" dirty="0" smtClean="0"/>
                        <a:t>Feb</a:t>
                      </a:r>
                      <a:endParaRPr lang="en-US" sz="1000" dirty="0"/>
                    </a:p>
                  </a:txBody>
                  <a:tcPr anchor="ctr">
                    <a:solidFill>
                      <a:schemeClr val="bg1">
                        <a:lumMod val="75000"/>
                      </a:schemeClr>
                    </a:solidFill>
                  </a:tcPr>
                </a:tc>
                <a:tc>
                  <a:txBody>
                    <a:bodyPr/>
                    <a:lstStyle/>
                    <a:p>
                      <a:pPr algn="ctr"/>
                      <a:r>
                        <a:rPr lang="en-US" sz="1000" dirty="0" smtClean="0"/>
                        <a:t>Mar</a:t>
                      </a:r>
                      <a:endParaRPr lang="en-US" sz="1000" dirty="0"/>
                    </a:p>
                  </a:txBody>
                  <a:tcPr anchor="ctr">
                    <a:solidFill>
                      <a:schemeClr val="bg1">
                        <a:lumMod val="75000"/>
                      </a:schemeClr>
                    </a:solidFill>
                  </a:tcPr>
                </a:tc>
                <a:tc>
                  <a:txBody>
                    <a:bodyPr/>
                    <a:lstStyle/>
                    <a:p>
                      <a:pPr algn="ctr"/>
                      <a:r>
                        <a:rPr lang="en-US" sz="1000" dirty="0" smtClean="0"/>
                        <a:t>Apr</a:t>
                      </a:r>
                      <a:endParaRPr lang="en-US" sz="1000" dirty="0"/>
                    </a:p>
                  </a:txBody>
                  <a:tcPr anchor="ctr">
                    <a:solidFill>
                      <a:srgbClr val="002776"/>
                    </a:solidFill>
                  </a:tcPr>
                </a:tc>
                <a:tc>
                  <a:txBody>
                    <a:bodyPr/>
                    <a:lstStyle/>
                    <a:p>
                      <a:pPr algn="ctr"/>
                      <a:r>
                        <a:rPr lang="en-US" sz="1000" dirty="0" smtClean="0"/>
                        <a:t>May</a:t>
                      </a:r>
                      <a:endParaRPr lang="en-US" sz="1000" dirty="0"/>
                    </a:p>
                  </a:txBody>
                  <a:tcPr anchor="ctr"/>
                </a:tc>
                <a:tc>
                  <a:txBody>
                    <a:bodyPr/>
                    <a:lstStyle/>
                    <a:p>
                      <a:pPr algn="ctr"/>
                      <a:r>
                        <a:rPr lang="en-US" sz="1000" dirty="0" smtClean="0"/>
                        <a:t>Jun</a:t>
                      </a:r>
                      <a:endParaRPr lang="en-US" sz="1000" dirty="0"/>
                    </a:p>
                  </a:txBody>
                  <a:tcPr anchor="ctr"/>
                </a:tc>
                <a:tc>
                  <a:txBody>
                    <a:bodyPr/>
                    <a:lstStyle/>
                    <a:p>
                      <a:pPr algn="ctr"/>
                      <a:r>
                        <a:rPr lang="en-US" sz="1000" dirty="0" smtClean="0"/>
                        <a:t>Jul</a:t>
                      </a:r>
                      <a:endParaRPr lang="en-US" sz="1000" dirty="0"/>
                    </a:p>
                  </a:txBody>
                  <a:tcPr anchor="ctr"/>
                </a:tc>
                <a:tc>
                  <a:txBody>
                    <a:bodyPr/>
                    <a:lstStyle/>
                    <a:p>
                      <a:pPr algn="ctr"/>
                      <a:r>
                        <a:rPr lang="en-US" sz="1000" dirty="0" smtClean="0"/>
                        <a:t>Aug</a:t>
                      </a:r>
                      <a:endParaRPr lang="en-US" sz="1000" dirty="0"/>
                    </a:p>
                  </a:txBody>
                  <a:tcPr anchor="ctr"/>
                </a:tc>
                <a:tc>
                  <a:txBody>
                    <a:bodyPr/>
                    <a:lstStyle/>
                    <a:p>
                      <a:pPr algn="ctr"/>
                      <a:r>
                        <a:rPr lang="en-US" sz="1000" dirty="0" smtClean="0"/>
                        <a:t>Sep</a:t>
                      </a:r>
                      <a:endParaRPr lang="en-US" sz="1000" dirty="0"/>
                    </a:p>
                  </a:txBody>
                  <a:tcPr anchor="ctr"/>
                </a:tc>
                <a:tc>
                  <a:txBody>
                    <a:bodyPr/>
                    <a:lstStyle/>
                    <a:p>
                      <a:pPr algn="ctr"/>
                      <a:r>
                        <a:rPr lang="en-US" sz="1000" dirty="0" smtClean="0"/>
                        <a:t>Oct</a:t>
                      </a:r>
                      <a:endParaRPr lang="en-US" sz="1000" dirty="0"/>
                    </a:p>
                  </a:txBody>
                  <a:tcPr anchor="ctr"/>
                </a:tc>
                <a:tc>
                  <a:txBody>
                    <a:bodyPr/>
                    <a:lstStyle/>
                    <a:p>
                      <a:pPr algn="ctr"/>
                      <a:r>
                        <a:rPr lang="en-US" sz="1000" dirty="0" smtClean="0"/>
                        <a:t>Nov</a:t>
                      </a:r>
                      <a:endParaRPr lang="en-US" sz="1000" dirty="0"/>
                    </a:p>
                  </a:txBody>
                  <a:tcPr anchor="ctr"/>
                </a:tc>
                <a:tc>
                  <a:txBody>
                    <a:bodyPr/>
                    <a:lstStyle/>
                    <a:p>
                      <a:pPr algn="ctr"/>
                      <a:r>
                        <a:rPr lang="en-US" sz="1000" dirty="0" smtClean="0"/>
                        <a:t>Dec</a:t>
                      </a:r>
                      <a:endParaRPr lang="en-US" sz="1000" dirty="0"/>
                    </a:p>
                  </a:txBody>
                  <a:tcPr anchor="ctr"/>
                </a:tc>
              </a:tr>
            </a:tbl>
          </a:graphicData>
        </a:graphic>
      </p:graphicFrame>
      <p:sp>
        <p:nvSpPr>
          <p:cNvPr id="21" name="Rounded Rectangle 20"/>
          <p:cNvSpPr/>
          <p:nvPr/>
        </p:nvSpPr>
        <p:spPr bwMode="gray">
          <a:xfrm>
            <a:off x="5563196" y="2928697"/>
            <a:ext cx="1673442" cy="1672652"/>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900" dirty="0">
                <a:solidFill>
                  <a:prstClr val="black"/>
                </a:solidFill>
              </a:rPr>
              <a:t>Jen accesses the Just In Time platform throughout the year to learn how to apply key technical topics on the job.</a:t>
            </a:r>
          </a:p>
          <a:p>
            <a:pPr algn="ctr">
              <a:lnSpc>
                <a:spcPct val="106000"/>
              </a:lnSpc>
              <a:buFont typeface="Wingdings 2" pitchFamily="18" charset="2"/>
              <a:buNone/>
            </a:pPr>
            <a:endParaRPr lang="en-US" sz="900" dirty="0">
              <a:solidFill>
                <a:prstClr val="black"/>
              </a:solidFill>
            </a:endParaRPr>
          </a:p>
          <a:p>
            <a:pPr algn="ctr">
              <a:lnSpc>
                <a:spcPct val="106000"/>
              </a:lnSpc>
              <a:buFont typeface="Wingdings 2" pitchFamily="18" charset="2"/>
              <a:buNone/>
            </a:pPr>
            <a:r>
              <a:rPr lang="en-US" sz="900" dirty="0">
                <a:solidFill>
                  <a:prstClr val="black"/>
                </a:solidFill>
              </a:rPr>
              <a:t>Bite-sized content such as job aids, videos, and Nano modules quickly support her performance</a:t>
            </a:r>
          </a:p>
        </p:txBody>
      </p:sp>
      <p:sp>
        <p:nvSpPr>
          <p:cNvPr id="23" name="Rounded Rectangle 22"/>
          <p:cNvSpPr/>
          <p:nvPr/>
        </p:nvSpPr>
        <p:spPr bwMode="gray">
          <a:xfrm>
            <a:off x="3283350" y="4259799"/>
            <a:ext cx="2119907" cy="1426759"/>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900" dirty="0">
              <a:solidFill>
                <a:prstClr val="black"/>
              </a:solidFill>
            </a:endParaRPr>
          </a:p>
          <a:p>
            <a:pPr algn="ctr">
              <a:lnSpc>
                <a:spcPct val="106000"/>
              </a:lnSpc>
              <a:buFont typeface="Wingdings 2" pitchFamily="18" charset="2"/>
              <a:buNone/>
            </a:pPr>
            <a:r>
              <a:rPr lang="en-US" sz="900" dirty="0">
                <a:solidFill>
                  <a:prstClr val="black"/>
                </a:solidFill>
              </a:rPr>
              <a:t>Jen and her counselor work together to create a development plan based on her assessment results, engagement role, and interests to include:</a:t>
            </a:r>
          </a:p>
          <a:p>
            <a:pPr marL="171450" indent="-171450">
              <a:lnSpc>
                <a:spcPct val="106000"/>
              </a:lnSpc>
              <a:buFont typeface="Arial" panose="020B0604020202020204" pitchFamily="34" charset="0"/>
              <a:buChar char="•"/>
            </a:pPr>
            <a:r>
              <a:rPr lang="en-US" sz="900" dirty="0">
                <a:solidFill>
                  <a:prstClr val="black"/>
                </a:solidFill>
              </a:rPr>
              <a:t>Elective courses</a:t>
            </a:r>
          </a:p>
          <a:p>
            <a:pPr marL="171450" indent="-171450">
              <a:lnSpc>
                <a:spcPct val="106000"/>
              </a:lnSpc>
              <a:buFont typeface="Arial" panose="020B0604020202020204" pitchFamily="34" charset="0"/>
              <a:buChar char="•"/>
            </a:pPr>
            <a:r>
              <a:rPr lang="en-US" sz="900" dirty="0">
                <a:solidFill>
                  <a:prstClr val="black"/>
                </a:solidFill>
              </a:rPr>
              <a:t>Experience and Exposure</a:t>
            </a:r>
          </a:p>
        </p:txBody>
      </p:sp>
      <p:sp>
        <p:nvSpPr>
          <p:cNvPr id="25" name="Rounded Rectangle 24"/>
          <p:cNvSpPr/>
          <p:nvPr/>
        </p:nvSpPr>
        <p:spPr bwMode="gray">
          <a:xfrm>
            <a:off x="7444523" y="2928698"/>
            <a:ext cx="2326832" cy="1278103"/>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900" dirty="0">
                <a:solidFill>
                  <a:prstClr val="black"/>
                </a:solidFill>
              </a:rPr>
              <a:t>Jen attends her Core Learning Week, where she participates in a simulation, practices applying advance professional and leadership skills, attends sessions focused on high-priority technical updates, and completes a rigorous post assessment</a:t>
            </a:r>
          </a:p>
        </p:txBody>
      </p:sp>
      <p:grpSp>
        <p:nvGrpSpPr>
          <p:cNvPr id="30" name="Group 29"/>
          <p:cNvGrpSpPr/>
          <p:nvPr/>
        </p:nvGrpSpPr>
        <p:grpSpPr>
          <a:xfrm>
            <a:off x="3311489" y="4152968"/>
            <a:ext cx="320040" cy="320040"/>
            <a:chOff x="5296350" y="1857616"/>
            <a:chExt cx="754757" cy="754756"/>
          </a:xfrm>
        </p:grpSpPr>
        <p:sp>
          <p:nvSpPr>
            <p:cNvPr id="31" name="Oval 30"/>
            <p:cNvSpPr/>
            <p:nvPr/>
          </p:nvSpPr>
          <p:spPr>
            <a:xfrm rot="774391">
              <a:off x="5296350" y="1857616"/>
              <a:ext cx="754757"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32" name="Freeform 9"/>
            <p:cNvSpPr>
              <a:spLocks noChangeAspect="1" noEditPoints="1"/>
            </p:cNvSpPr>
            <p:nvPr/>
          </p:nvSpPr>
          <p:spPr bwMode="auto">
            <a:xfrm>
              <a:off x="5445309" y="1943805"/>
              <a:ext cx="484038" cy="457200"/>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3" name="Group 32"/>
          <p:cNvGrpSpPr/>
          <p:nvPr/>
        </p:nvGrpSpPr>
        <p:grpSpPr>
          <a:xfrm>
            <a:off x="5506537" y="2788347"/>
            <a:ext cx="320040" cy="320040"/>
            <a:chOff x="4197661" y="4929246"/>
            <a:chExt cx="754756" cy="754756"/>
          </a:xfrm>
        </p:grpSpPr>
        <p:sp>
          <p:nvSpPr>
            <p:cNvPr id="34" name="Oval 33"/>
            <p:cNvSpPr/>
            <p:nvPr/>
          </p:nvSpPr>
          <p:spPr>
            <a:xfrm rot="4776862">
              <a:off x="4197661" y="4929246"/>
              <a:ext cx="754756" cy="754756"/>
            </a:xfrm>
            <a:prstGeom prst="ellipse">
              <a:avLst/>
            </a:prstGeom>
            <a:solidFill>
              <a:schemeClr val="accent2"/>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35" name="Freeform 34"/>
            <p:cNvSpPr>
              <a:spLocks noChangeAspect="1"/>
            </p:cNvSpPr>
            <p:nvPr/>
          </p:nvSpPr>
          <p:spPr bwMode="auto">
            <a:xfrm>
              <a:off x="4282832" y="5075530"/>
              <a:ext cx="477578" cy="457200"/>
            </a:xfrm>
            <a:custGeom>
              <a:avLst/>
              <a:gdLst>
                <a:gd name="T0" fmla="*/ 2566 w 3726"/>
                <a:gd name="T1" fmla="*/ 30 h 3567"/>
                <a:gd name="T2" fmla="*/ 2737 w 3726"/>
                <a:gd name="T3" fmla="*/ 147 h 3567"/>
                <a:gd name="T4" fmla="*/ 2834 w 3726"/>
                <a:gd name="T5" fmla="*/ 331 h 3567"/>
                <a:gd name="T6" fmla="*/ 2834 w 3726"/>
                <a:gd name="T7" fmla="*/ 547 h 3567"/>
                <a:gd name="T8" fmla="*/ 2737 w 3726"/>
                <a:gd name="T9" fmla="*/ 731 h 3567"/>
                <a:gd name="T10" fmla="*/ 2566 w 3726"/>
                <a:gd name="T11" fmla="*/ 849 h 3567"/>
                <a:gd name="T12" fmla="*/ 2372 w 3726"/>
                <a:gd name="T13" fmla="*/ 877 h 3567"/>
                <a:gd name="T14" fmla="*/ 2230 w 3726"/>
                <a:gd name="T15" fmla="*/ 1399 h 3567"/>
                <a:gd name="T16" fmla="*/ 2345 w 3726"/>
                <a:gd name="T17" fmla="*/ 1598 h 3567"/>
                <a:gd name="T18" fmla="*/ 2370 w 3726"/>
                <a:gd name="T19" fmla="*/ 1835 h 3567"/>
                <a:gd name="T20" fmla="*/ 2299 w 3726"/>
                <a:gd name="T21" fmla="*/ 2054 h 3567"/>
                <a:gd name="T22" fmla="*/ 2797 w 3726"/>
                <a:gd name="T23" fmla="*/ 2263 h 3567"/>
                <a:gd name="T24" fmla="*/ 3050 w 3726"/>
                <a:gd name="T25" fmla="*/ 2215 h 3567"/>
                <a:gd name="T26" fmla="*/ 3313 w 3726"/>
                <a:gd name="T27" fmla="*/ 2268 h 3567"/>
                <a:gd name="T28" fmla="*/ 3528 w 3726"/>
                <a:gd name="T29" fmla="*/ 2412 h 3567"/>
                <a:gd name="T30" fmla="*/ 3673 w 3726"/>
                <a:gd name="T31" fmla="*/ 2627 h 3567"/>
                <a:gd name="T32" fmla="*/ 3726 w 3726"/>
                <a:gd name="T33" fmla="*/ 2890 h 3567"/>
                <a:gd name="T34" fmla="*/ 3673 w 3726"/>
                <a:gd name="T35" fmla="*/ 3153 h 3567"/>
                <a:gd name="T36" fmla="*/ 3528 w 3726"/>
                <a:gd name="T37" fmla="*/ 3369 h 3567"/>
                <a:gd name="T38" fmla="*/ 3313 w 3726"/>
                <a:gd name="T39" fmla="*/ 3514 h 3567"/>
                <a:gd name="T40" fmla="*/ 3050 w 3726"/>
                <a:gd name="T41" fmla="*/ 3567 h 3567"/>
                <a:gd name="T42" fmla="*/ 2787 w 3726"/>
                <a:gd name="T43" fmla="*/ 3514 h 3567"/>
                <a:gd name="T44" fmla="*/ 2571 w 3726"/>
                <a:gd name="T45" fmla="*/ 3369 h 3567"/>
                <a:gd name="T46" fmla="*/ 2426 w 3726"/>
                <a:gd name="T47" fmla="*/ 3153 h 3567"/>
                <a:gd name="T48" fmla="*/ 2373 w 3726"/>
                <a:gd name="T49" fmla="*/ 2890 h 3567"/>
                <a:gd name="T50" fmla="*/ 2419 w 3726"/>
                <a:gd name="T51" fmla="*/ 2644 h 3567"/>
                <a:gd name="T52" fmla="*/ 2089 w 3726"/>
                <a:gd name="T53" fmla="*/ 2263 h 3567"/>
                <a:gd name="T54" fmla="*/ 1870 w 3726"/>
                <a:gd name="T55" fmla="*/ 2334 h 3567"/>
                <a:gd name="T56" fmla="*/ 1635 w 3726"/>
                <a:gd name="T57" fmla="*/ 2310 h 3567"/>
                <a:gd name="T58" fmla="*/ 1439 w 3726"/>
                <a:gd name="T59" fmla="*/ 2197 h 3567"/>
                <a:gd name="T60" fmla="*/ 1303 w 3726"/>
                <a:gd name="T61" fmla="*/ 2018 h 3567"/>
                <a:gd name="T62" fmla="*/ 838 w 3726"/>
                <a:gd name="T63" fmla="*/ 2258 h 3567"/>
                <a:gd name="T64" fmla="*/ 719 w 3726"/>
                <a:gd name="T65" fmla="*/ 2412 h 3567"/>
                <a:gd name="T66" fmla="*/ 542 w 3726"/>
                <a:gd name="T67" fmla="*/ 2500 h 3567"/>
                <a:gd name="T68" fmla="*/ 331 w 3726"/>
                <a:gd name="T69" fmla="*/ 2499 h 3567"/>
                <a:gd name="T70" fmla="*/ 148 w 3726"/>
                <a:gd name="T71" fmla="*/ 2402 h 3567"/>
                <a:gd name="T72" fmla="*/ 29 w 3726"/>
                <a:gd name="T73" fmla="*/ 2233 h 3567"/>
                <a:gd name="T74" fmla="*/ 3 w 3726"/>
                <a:gd name="T75" fmla="*/ 2018 h 3567"/>
                <a:gd name="T76" fmla="*/ 79 w 3726"/>
                <a:gd name="T77" fmla="*/ 1823 h 3567"/>
                <a:gd name="T78" fmla="*/ 233 w 3726"/>
                <a:gd name="T79" fmla="*/ 1686 h 3567"/>
                <a:gd name="T80" fmla="*/ 440 w 3726"/>
                <a:gd name="T81" fmla="*/ 1634 h 3567"/>
                <a:gd name="T82" fmla="*/ 650 w 3726"/>
                <a:gd name="T83" fmla="*/ 1687 h 3567"/>
                <a:gd name="T84" fmla="*/ 805 w 3726"/>
                <a:gd name="T85" fmla="*/ 1829 h 3567"/>
                <a:gd name="T86" fmla="*/ 1251 w 3726"/>
                <a:gd name="T87" fmla="*/ 1713 h 3567"/>
                <a:gd name="T88" fmla="*/ 1324 w 3726"/>
                <a:gd name="T89" fmla="*/ 1490 h 3567"/>
                <a:gd name="T90" fmla="*/ 1478 w 3726"/>
                <a:gd name="T91" fmla="*/ 1321 h 3567"/>
                <a:gd name="T92" fmla="*/ 1689 w 3726"/>
                <a:gd name="T93" fmla="*/ 1225 h 3567"/>
                <a:gd name="T94" fmla="*/ 1926 w 3726"/>
                <a:gd name="T95" fmla="*/ 1224 h 3567"/>
                <a:gd name="T96" fmla="*/ 2022 w 3726"/>
                <a:gd name="T97" fmla="*/ 648 h 3567"/>
                <a:gd name="T98" fmla="*/ 1969 w 3726"/>
                <a:gd name="T99" fmla="*/ 440 h 3567"/>
                <a:gd name="T100" fmla="*/ 2021 w 3726"/>
                <a:gd name="T101" fmla="*/ 233 h 3567"/>
                <a:gd name="T102" fmla="*/ 2157 w 3726"/>
                <a:gd name="T103" fmla="*/ 78 h 3567"/>
                <a:gd name="T104" fmla="*/ 2353 w 3726"/>
                <a:gd name="T105" fmla="*/ 4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26" h="3567">
                  <a:moveTo>
                    <a:pt x="2408" y="0"/>
                  </a:moveTo>
                  <a:lnTo>
                    <a:pt x="2463" y="4"/>
                  </a:lnTo>
                  <a:lnTo>
                    <a:pt x="2517" y="14"/>
                  </a:lnTo>
                  <a:lnTo>
                    <a:pt x="2566" y="30"/>
                  </a:lnTo>
                  <a:lnTo>
                    <a:pt x="2615" y="51"/>
                  </a:lnTo>
                  <a:lnTo>
                    <a:pt x="2659" y="78"/>
                  </a:lnTo>
                  <a:lnTo>
                    <a:pt x="2700" y="111"/>
                  </a:lnTo>
                  <a:lnTo>
                    <a:pt x="2737" y="147"/>
                  </a:lnTo>
                  <a:lnTo>
                    <a:pt x="2769" y="188"/>
                  </a:lnTo>
                  <a:lnTo>
                    <a:pt x="2796" y="233"/>
                  </a:lnTo>
                  <a:lnTo>
                    <a:pt x="2818" y="280"/>
                  </a:lnTo>
                  <a:lnTo>
                    <a:pt x="2834" y="331"/>
                  </a:lnTo>
                  <a:lnTo>
                    <a:pt x="2844" y="384"/>
                  </a:lnTo>
                  <a:lnTo>
                    <a:pt x="2848" y="440"/>
                  </a:lnTo>
                  <a:lnTo>
                    <a:pt x="2844" y="494"/>
                  </a:lnTo>
                  <a:lnTo>
                    <a:pt x="2834" y="547"/>
                  </a:lnTo>
                  <a:lnTo>
                    <a:pt x="2818" y="598"/>
                  </a:lnTo>
                  <a:lnTo>
                    <a:pt x="2796" y="645"/>
                  </a:lnTo>
                  <a:lnTo>
                    <a:pt x="2769" y="690"/>
                  </a:lnTo>
                  <a:lnTo>
                    <a:pt x="2737" y="731"/>
                  </a:lnTo>
                  <a:lnTo>
                    <a:pt x="2700" y="767"/>
                  </a:lnTo>
                  <a:lnTo>
                    <a:pt x="2659" y="800"/>
                  </a:lnTo>
                  <a:lnTo>
                    <a:pt x="2615" y="827"/>
                  </a:lnTo>
                  <a:lnTo>
                    <a:pt x="2566" y="849"/>
                  </a:lnTo>
                  <a:lnTo>
                    <a:pt x="2517" y="866"/>
                  </a:lnTo>
                  <a:lnTo>
                    <a:pt x="2463" y="875"/>
                  </a:lnTo>
                  <a:lnTo>
                    <a:pt x="2408" y="878"/>
                  </a:lnTo>
                  <a:lnTo>
                    <a:pt x="2372" y="877"/>
                  </a:lnTo>
                  <a:lnTo>
                    <a:pt x="2337" y="872"/>
                  </a:lnTo>
                  <a:lnTo>
                    <a:pt x="2145" y="1322"/>
                  </a:lnTo>
                  <a:lnTo>
                    <a:pt x="2189" y="1359"/>
                  </a:lnTo>
                  <a:lnTo>
                    <a:pt x="2230" y="1399"/>
                  </a:lnTo>
                  <a:lnTo>
                    <a:pt x="2266" y="1444"/>
                  </a:lnTo>
                  <a:lnTo>
                    <a:pt x="2296" y="1493"/>
                  </a:lnTo>
                  <a:lnTo>
                    <a:pt x="2323" y="1543"/>
                  </a:lnTo>
                  <a:lnTo>
                    <a:pt x="2345" y="1598"/>
                  </a:lnTo>
                  <a:lnTo>
                    <a:pt x="2360" y="1654"/>
                  </a:lnTo>
                  <a:lnTo>
                    <a:pt x="2370" y="1714"/>
                  </a:lnTo>
                  <a:lnTo>
                    <a:pt x="2373" y="1775"/>
                  </a:lnTo>
                  <a:lnTo>
                    <a:pt x="2370" y="1835"/>
                  </a:lnTo>
                  <a:lnTo>
                    <a:pt x="2361" y="1894"/>
                  </a:lnTo>
                  <a:lnTo>
                    <a:pt x="2345" y="1950"/>
                  </a:lnTo>
                  <a:lnTo>
                    <a:pt x="2324" y="2003"/>
                  </a:lnTo>
                  <a:lnTo>
                    <a:pt x="2299" y="2054"/>
                  </a:lnTo>
                  <a:lnTo>
                    <a:pt x="2634" y="2357"/>
                  </a:lnTo>
                  <a:lnTo>
                    <a:pt x="2685" y="2321"/>
                  </a:lnTo>
                  <a:lnTo>
                    <a:pt x="2739" y="2289"/>
                  </a:lnTo>
                  <a:lnTo>
                    <a:pt x="2797" y="2263"/>
                  </a:lnTo>
                  <a:lnTo>
                    <a:pt x="2857" y="2242"/>
                  </a:lnTo>
                  <a:lnTo>
                    <a:pt x="2919" y="2227"/>
                  </a:lnTo>
                  <a:lnTo>
                    <a:pt x="2983" y="2217"/>
                  </a:lnTo>
                  <a:lnTo>
                    <a:pt x="3050" y="2215"/>
                  </a:lnTo>
                  <a:lnTo>
                    <a:pt x="3119" y="2218"/>
                  </a:lnTo>
                  <a:lnTo>
                    <a:pt x="3186" y="2228"/>
                  </a:lnTo>
                  <a:lnTo>
                    <a:pt x="3251" y="2244"/>
                  </a:lnTo>
                  <a:lnTo>
                    <a:pt x="3313" y="2268"/>
                  </a:lnTo>
                  <a:lnTo>
                    <a:pt x="3372" y="2296"/>
                  </a:lnTo>
                  <a:lnTo>
                    <a:pt x="3427" y="2330"/>
                  </a:lnTo>
                  <a:lnTo>
                    <a:pt x="3481" y="2368"/>
                  </a:lnTo>
                  <a:lnTo>
                    <a:pt x="3528" y="2412"/>
                  </a:lnTo>
                  <a:lnTo>
                    <a:pt x="3572" y="2460"/>
                  </a:lnTo>
                  <a:lnTo>
                    <a:pt x="3610" y="2513"/>
                  </a:lnTo>
                  <a:lnTo>
                    <a:pt x="3644" y="2568"/>
                  </a:lnTo>
                  <a:lnTo>
                    <a:pt x="3673" y="2627"/>
                  </a:lnTo>
                  <a:lnTo>
                    <a:pt x="3696" y="2689"/>
                  </a:lnTo>
                  <a:lnTo>
                    <a:pt x="3712" y="2755"/>
                  </a:lnTo>
                  <a:lnTo>
                    <a:pt x="3722" y="2821"/>
                  </a:lnTo>
                  <a:lnTo>
                    <a:pt x="3726" y="2890"/>
                  </a:lnTo>
                  <a:lnTo>
                    <a:pt x="3722" y="2960"/>
                  </a:lnTo>
                  <a:lnTo>
                    <a:pt x="3712" y="3027"/>
                  </a:lnTo>
                  <a:lnTo>
                    <a:pt x="3696" y="3091"/>
                  </a:lnTo>
                  <a:lnTo>
                    <a:pt x="3673" y="3153"/>
                  </a:lnTo>
                  <a:lnTo>
                    <a:pt x="3644" y="3213"/>
                  </a:lnTo>
                  <a:lnTo>
                    <a:pt x="3610" y="3269"/>
                  </a:lnTo>
                  <a:lnTo>
                    <a:pt x="3572" y="3321"/>
                  </a:lnTo>
                  <a:lnTo>
                    <a:pt x="3528" y="3369"/>
                  </a:lnTo>
                  <a:lnTo>
                    <a:pt x="3481" y="3412"/>
                  </a:lnTo>
                  <a:lnTo>
                    <a:pt x="3427" y="3452"/>
                  </a:lnTo>
                  <a:lnTo>
                    <a:pt x="3372" y="3486"/>
                  </a:lnTo>
                  <a:lnTo>
                    <a:pt x="3313" y="3514"/>
                  </a:lnTo>
                  <a:lnTo>
                    <a:pt x="3251" y="3536"/>
                  </a:lnTo>
                  <a:lnTo>
                    <a:pt x="3186" y="3553"/>
                  </a:lnTo>
                  <a:lnTo>
                    <a:pt x="3119" y="3564"/>
                  </a:lnTo>
                  <a:lnTo>
                    <a:pt x="3050" y="3567"/>
                  </a:lnTo>
                  <a:lnTo>
                    <a:pt x="2980" y="3564"/>
                  </a:lnTo>
                  <a:lnTo>
                    <a:pt x="2913" y="3553"/>
                  </a:lnTo>
                  <a:lnTo>
                    <a:pt x="2849" y="3536"/>
                  </a:lnTo>
                  <a:lnTo>
                    <a:pt x="2787" y="3514"/>
                  </a:lnTo>
                  <a:lnTo>
                    <a:pt x="2727" y="3486"/>
                  </a:lnTo>
                  <a:lnTo>
                    <a:pt x="2671" y="3452"/>
                  </a:lnTo>
                  <a:lnTo>
                    <a:pt x="2619" y="3412"/>
                  </a:lnTo>
                  <a:lnTo>
                    <a:pt x="2571" y="3369"/>
                  </a:lnTo>
                  <a:lnTo>
                    <a:pt x="2528" y="3321"/>
                  </a:lnTo>
                  <a:lnTo>
                    <a:pt x="2488" y="3269"/>
                  </a:lnTo>
                  <a:lnTo>
                    <a:pt x="2454" y="3213"/>
                  </a:lnTo>
                  <a:lnTo>
                    <a:pt x="2426" y="3153"/>
                  </a:lnTo>
                  <a:lnTo>
                    <a:pt x="2404" y="3091"/>
                  </a:lnTo>
                  <a:lnTo>
                    <a:pt x="2387" y="3027"/>
                  </a:lnTo>
                  <a:lnTo>
                    <a:pt x="2376" y="2960"/>
                  </a:lnTo>
                  <a:lnTo>
                    <a:pt x="2373" y="2890"/>
                  </a:lnTo>
                  <a:lnTo>
                    <a:pt x="2375" y="2826"/>
                  </a:lnTo>
                  <a:lnTo>
                    <a:pt x="2384" y="2764"/>
                  </a:lnTo>
                  <a:lnTo>
                    <a:pt x="2399" y="2703"/>
                  </a:lnTo>
                  <a:lnTo>
                    <a:pt x="2419" y="2644"/>
                  </a:lnTo>
                  <a:lnTo>
                    <a:pt x="2444" y="2589"/>
                  </a:lnTo>
                  <a:lnTo>
                    <a:pt x="2474" y="2535"/>
                  </a:lnTo>
                  <a:lnTo>
                    <a:pt x="2137" y="2233"/>
                  </a:lnTo>
                  <a:lnTo>
                    <a:pt x="2089" y="2263"/>
                  </a:lnTo>
                  <a:lnTo>
                    <a:pt x="2039" y="2289"/>
                  </a:lnTo>
                  <a:lnTo>
                    <a:pt x="1984" y="2310"/>
                  </a:lnTo>
                  <a:lnTo>
                    <a:pt x="1929" y="2324"/>
                  </a:lnTo>
                  <a:lnTo>
                    <a:pt x="1870" y="2334"/>
                  </a:lnTo>
                  <a:lnTo>
                    <a:pt x="1810" y="2337"/>
                  </a:lnTo>
                  <a:lnTo>
                    <a:pt x="1750" y="2334"/>
                  </a:lnTo>
                  <a:lnTo>
                    <a:pt x="1692" y="2324"/>
                  </a:lnTo>
                  <a:lnTo>
                    <a:pt x="1635" y="2310"/>
                  </a:lnTo>
                  <a:lnTo>
                    <a:pt x="1582" y="2289"/>
                  </a:lnTo>
                  <a:lnTo>
                    <a:pt x="1531" y="2263"/>
                  </a:lnTo>
                  <a:lnTo>
                    <a:pt x="1484" y="2233"/>
                  </a:lnTo>
                  <a:lnTo>
                    <a:pt x="1439" y="2197"/>
                  </a:lnTo>
                  <a:lnTo>
                    <a:pt x="1399" y="2158"/>
                  </a:lnTo>
                  <a:lnTo>
                    <a:pt x="1362" y="2114"/>
                  </a:lnTo>
                  <a:lnTo>
                    <a:pt x="1330" y="2068"/>
                  </a:lnTo>
                  <a:lnTo>
                    <a:pt x="1303" y="2018"/>
                  </a:lnTo>
                  <a:lnTo>
                    <a:pt x="877" y="2111"/>
                  </a:lnTo>
                  <a:lnTo>
                    <a:pt x="870" y="2161"/>
                  </a:lnTo>
                  <a:lnTo>
                    <a:pt x="857" y="2210"/>
                  </a:lnTo>
                  <a:lnTo>
                    <a:pt x="838" y="2258"/>
                  </a:lnTo>
                  <a:lnTo>
                    <a:pt x="816" y="2300"/>
                  </a:lnTo>
                  <a:lnTo>
                    <a:pt x="788" y="2341"/>
                  </a:lnTo>
                  <a:lnTo>
                    <a:pt x="755" y="2378"/>
                  </a:lnTo>
                  <a:lnTo>
                    <a:pt x="719" y="2412"/>
                  </a:lnTo>
                  <a:lnTo>
                    <a:pt x="679" y="2442"/>
                  </a:lnTo>
                  <a:lnTo>
                    <a:pt x="636" y="2467"/>
                  </a:lnTo>
                  <a:lnTo>
                    <a:pt x="591" y="2486"/>
                  </a:lnTo>
                  <a:lnTo>
                    <a:pt x="542" y="2500"/>
                  </a:lnTo>
                  <a:lnTo>
                    <a:pt x="492" y="2509"/>
                  </a:lnTo>
                  <a:lnTo>
                    <a:pt x="440" y="2513"/>
                  </a:lnTo>
                  <a:lnTo>
                    <a:pt x="384" y="2509"/>
                  </a:lnTo>
                  <a:lnTo>
                    <a:pt x="331" y="2499"/>
                  </a:lnTo>
                  <a:lnTo>
                    <a:pt x="280" y="2483"/>
                  </a:lnTo>
                  <a:lnTo>
                    <a:pt x="233" y="2461"/>
                  </a:lnTo>
                  <a:lnTo>
                    <a:pt x="189" y="2434"/>
                  </a:lnTo>
                  <a:lnTo>
                    <a:pt x="148" y="2402"/>
                  </a:lnTo>
                  <a:lnTo>
                    <a:pt x="111" y="2365"/>
                  </a:lnTo>
                  <a:lnTo>
                    <a:pt x="79" y="2324"/>
                  </a:lnTo>
                  <a:lnTo>
                    <a:pt x="52" y="2280"/>
                  </a:lnTo>
                  <a:lnTo>
                    <a:pt x="29" y="2233"/>
                  </a:lnTo>
                  <a:lnTo>
                    <a:pt x="14" y="2182"/>
                  </a:lnTo>
                  <a:lnTo>
                    <a:pt x="3" y="2129"/>
                  </a:lnTo>
                  <a:lnTo>
                    <a:pt x="0" y="2073"/>
                  </a:lnTo>
                  <a:lnTo>
                    <a:pt x="3" y="2018"/>
                  </a:lnTo>
                  <a:lnTo>
                    <a:pt x="14" y="1965"/>
                  </a:lnTo>
                  <a:lnTo>
                    <a:pt x="29" y="1915"/>
                  </a:lnTo>
                  <a:lnTo>
                    <a:pt x="52" y="1867"/>
                  </a:lnTo>
                  <a:lnTo>
                    <a:pt x="79" y="1823"/>
                  </a:lnTo>
                  <a:lnTo>
                    <a:pt x="111" y="1782"/>
                  </a:lnTo>
                  <a:lnTo>
                    <a:pt x="148" y="1745"/>
                  </a:lnTo>
                  <a:lnTo>
                    <a:pt x="189" y="1713"/>
                  </a:lnTo>
                  <a:lnTo>
                    <a:pt x="233" y="1686"/>
                  </a:lnTo>
                  <a:lnTo>
                    <a:pt x="280" y="1663"/>
                  </a:lnTo>
                  <a:lnTo>
                    <a:pt x="331" y="1647"/>
                  </a:lnTo>
                  <a:lnTo>
                    <a:pt x="384" y="1637"/>
                  </a:lnTo>
                  <a:lnTo>
                    <a:pt x="440" y="1634"/>
                  </a:lnTo>
                  <a:lnTo>
                    <a:pt x="495" y="1637"/>
                  </a:lnTo>
                  <a:lnTo>
                    <a:pt x="549" y="1649"/>
                  </a:lnTo>
                  <a:lnTo>
                    <a:pt x="601" y="1664"/>
                  </a:lnTo>
                  <a:lnTo>
                    <a:pt x="650" y="1687"/>
                  </a:lnTo>
                  <a:lnTo>
                    <a:pt x="694" y="1715"/>
                  </a:lnTo>
                  <a:lnTo>
                    <a:pt x="736" y="1749"/>
                  </a:lnTo>
                  <a:lnTo>
                    <a:pt x="772" y="1786"/>
                  </a:lnTo>
                  <a:lnTo>
                    <a:pt x="805" y="1829"/>
                  </a:lnTo>
                  <a:lnTo>
                    <a:pt x="832" y="1875"/>
                  </a:lnTo>
                  <a:lnTo>
                    <a:pt x="1249" y="1784"/>
                  </a:lnTo>
                  <a:lnTo>
                    <a:pt x="1248" y="1775"/>
                  </a:lnTo>
                  <a:lnTo>
                    <a:pt x="1251" y="1713"/>
                  </a:lnTo>
                  <a:lnTo>
                    <a:pt x="1261" y="1654"/>
                  </a:lnTo>
                  <a:lnTo>
                    <a:pt x="1277" y="1597"/>
                  </a:lnTo>
                  <a:lnTo>
                    <a:pt x="1298" y="1542"/>
                  </a:lnTo>
                  <a:lnTo>
                    <a:pt x="1324" y="1490"/>
                  </a:lnTo>
                  <a:lnTo>
                    <a:pt x="1356" y="1443"/>
                  </a:lnTo>
                  <a:lnTo>
                    <a:pt x="1393" y="1398"/>
                  </a:lnTo>
                  <a:lnTo>
                    <a:pt x="1434" y="1357"/>
                  </a:lnTo>
                  <a:lnTo>
                    <a:pt x="1478" y="1321"/>
                  </a:lnTo>
                  <a:lnTo>
                    <a:pt x="1527" y="1289"/>
                  </a:lnTo>
                  <a:lnTo>
                    <a:pt x="1578" y="1262"/>
                  </a:lnTo>
                  <a:lnTo>
                    <a:pt x="1633" y="1241"/>
                  </a:lnTo>
                  <a:lnTo>
                    <a:pt x="1689" y="1225"/>
                  </a:lnTo>
                  <a:lnTo>
                    <a:pt x="1749" y="1216"/>
                  </a:lnTo>
                  <a:lnTo>
                    <a:pt x="1810" y="1212"/>
                  </a:lnTo>
                  <a:lnTo>
                    <a:pt x="1869" y="1216"/>
                  </a:lnTo>
                  <a:lnTo>
                    <a:pt x="1926" y="1224"/>
                  </a:lnTo>
                  <a:lnTo>
                    <a:pt x="2120" y="771"/>
                  </a:lnTo>
                  <a:lnTo>
                    <a:pt x="2083" y="733"/>
                  </a:lnTo>
                  <a:lnTo>
                    <a:pt x="2049" y="693"/>
                  </a:lnTo>
                  <a:lnTo>
                    <a:pt x="2022" y="648"/>
                  </a:lnTo>
                  <a:lnTo>
                    <a:pt x="1999" y="600"/>
                  </a:lnTo>
                  <a:lnTo>
                    <a:pt x="1982" y="548"/>
                  </a:lnTo>
                  <a:lnTo>
                    <a:pt x="1972" y="495"/>
                  </a:lnTo>
                  <a:lnTo>
                    <a:pt x="1969" y="440"/>
                  </a:lnTo>
                  <a:lnTo>
                    <a:pt x="1972" y="384"/>
                  </a:lnTo>
                  <a:lnTo>
                    <a:pt x="1982" y="331"/>
                  </a:lnTo>
                  <a:lnTo>
                    <a:pt x="1998" y="280"/>
                  </a:lnTo>
                  <a:lnTo>
                    <a:pt x="2021" y="233"/>
                  </a:lnTo>
                  <a:lnTo>
                    <a:pt x="2048" y="188"/>
                  </a:lnTo>
                  <a:lnTo>
                    <a:pt x="2079" y="147"/>
                  </a:lnTo>
                  <a:lnTo>
                    <a:pt x="2117" y="111"/>
                  </a:lnTo>
                  <a:lnTo>
                    <a:pt x="2157" y="78"/>
                  </a:lnTo>
                  <a:lnTo>
                    <a:pt x="2201" y="51"/>
                  </a:lnTo>
                  <a:lnTo>
                    <a:pt x="2249" y="30"/>
                  </a:lnTo>
                  <a:lnTo>
                    <a:pt x="2300" y="14"/>
                  </a:lnTo>
                  <a:lnTo>
                    <a:pt x="2353" y="4"/>
                  </a:lnTo>
                  <a:lnTo>
                    <a:pt x="24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36" name="Group 35"/>
          <p:cNvGrpSpPr/>
          <p:nvPr/>
        </p:nvGrpSpPr>
        <p:grpSpPr>
          <a:xfrm>
            <a:off x="3692006" y="4152968"/>
            <a:ext cx="320040" cy="320040"/>
            <a:chOff x="5833572" y="3714389"/>
            <a:chExt cx="754757" cy="754754"/>
          </a:xfrm>
        </p:grpSpPr>
        <p:sp>
          <p:nvSpPr>
            <p:cNvPr id="37" name="Oval 36"/>
            <p:cNvSpPr/>
            <p:nvPr/>
          </p:nvSpPr>
          <p:spPr>
            <a:xfrm rot="4342465">
              <a:off x="5833574" y="3714387"/>
              <a:ext cx="754754" cy="754757"/>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38" name="Freeform 73"/>
            <p:cNvSpPr>
              <a:spLocks noChangeAspect="1" noEditPoints="1"/>
            </p:cNvSpPr>
            <p:nvPr/>
          </p:nvSpPr>
          <p:spPr bwMode="auto">
            <a:xfrm>
              <a:off x="5969167" y="4042045"/>
              <a:ext cx="476475" cy="182880"/>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39" name="Group 38"/>
          <p:cNvGrpSpPr/>
          <p:nvPr/>
        </p:nvGrpSpPr>
        <p:grpSpPr>
          <a:xfrm>
            <a:off x="4075670" y="4152968"/>
            <a:ext cx="320040" cy="320040"/>
            <a:chOff x="2494116" y="4965579"/>
            <a:chExt cx="754756" cy="754756"/>
          </a:xfrm>
        </p:grpSpPr>
        <p:sp>
          <p:nvSpPr>
            <p:cNvPr id="40" name="Oval 39"/>
            <p:cNvSpPr/>
            <p:nvPr/>
          </p:nvSpPr>
          <p:spPr>
            <a:xfrm rot="12143762">
              <a:off x="2494116" y="4965579"/>
              <a:ext cx="754756"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41" name="Freeform 83"/>
            <p:cNvSpPr>
              <a:spLocks noChangeAspect="1" noEditPoints="1"/>
            </p:cNvSpPr>
            <p:nvPr/>
          </p:nvSpPr>
          <p:spPr bwMode="auto">
            <a:xfrm>
              <a:off x="2636320" y="5122183"/>
              <a:ext cx="457200" cy="422792"/>
            </a:xfrm>
            <a:custGeom>
              <a:avLst/>
              <a:gdLst>
                <a:gd name="T0" fmla="*/ 37 w 150"/>
                <a:gd name="T1" fmla="*/ 50 h 150"/>
                <a:gd name="T2" fmla="*/ 41 w 150"/>
                <a:gd name="T3" fmla="*/ 51 h 150"/>
                <a:gd name="T4" fmla="*/ 60 w 150"/>
                <a:gd name="T5" fmla="*/ 34 h 150"/>
                <a:gd name="T6" fmla="*/ 59 w 150"/>
                <a:gd name="T7" fmla="*/ 30 h 150"/>
                <a:gd name="T8" fmla="*/ 60 w 150"/>
                <a:gd name="T9" fmla="*/ 25 h 150"/>
                <a:gd name="T10" fmla="*/ 36 w 150"/>
                <a:gd name="T11" fmla="*/ 12 h 150"/>
                <a:gd name="T12" fmla="*/ 15 w 150"/>
                <a:gd name="T13" fmla="*/ 31 h 150"/>
                <a:gd name="T14" fmla="*/ 30 w 150"/>
                <a:gd name="T15" fmla="*/ 52 h 150"/>
                <a:gd name="T16" fmla="*/ 37 w 150"/>
                <a:gd name="T17" fmla="*/ 50 h 150"/>
                <a:gd name="T18" fmla="*/ 21 w 150"/>
                <a:gd name="T19" fmla="*/ 66 h 150"/>
                <a:gd name="T20" fmla="*/ 22 w 150"/>
                <a:gd name="T21" fmla="*/ 60 h 150"/>
                <a:gd name="T22" fmla="*/ 8 w 150"/>
                <a:gd name="T23" fmla="*/ 42 h 150"/>
                <a:gd name="T24" fmla="*/ 0 w 150"/>
                <a:gd name="T25" fmla="*/ 75 h 150"/>
                <a:gd name="T26" fmla="*/ 11 w 150"/>
                <a:gd name="T27" fmla="*/ 114 h 150"/>
                <a:gd name="T28" fmla="*/ 24 w 150"/>
                <a:gd name="T29" fmla="*/ 76 h 150"/>
                <a:gd name="T30" fmla="*/ 21 w 150"/>
                <a:gd name="T31" fmla="*/ 66 h 150"/>
                <a:gd name="T32" fmla="*/ 75 w 150"/>
                <a:gd name="T33" fmla="*/ 14 h 150"/>
                <a:gd name="T34" fmla="*/ 86 w 150"/>
                <a:gd name="T35" fmla="*/ 18 h 150"/>
                <a:gd name="T36" fmla="*/ 113 w 150"/>
                <a:gd name="T37" fmla="*/ 10 h 150"/>
                <a:gd name="T38" fmla="*/ 75 w 150"/>
                <a:gd name="T39" fmla="*/ 0 h 150"/>
                <a:gd name="T40" fmla="*/ 49 w 150"/>
                <a:gd name="T41" fmla="*/ 5 h 150"/>
                <a:gd name="T42" fmla="*/ 67 w 150"/>
                <a:gd name="T43" fmla="*/ 16 h 150"/>
                <a:gd name="T44" fmla="*/ 75 w 150"/>
                <a:gd name="T45" fmla="*/ 14 h 150"/>
                <a:gd name="T46" fmla="*/ 99 w 150"/>
                <a:gd name="T47" fmla="*/ 89 h 150"/>
                <a:gd name="T48" fmla="*/ 103 w 150"/>
                <a:gd name="T49" fmla="*/ 84 h 150"/>
                <a:gd name="T50" fmla="*/ 82 w 150"/>
                <a:gd name="T51" fmla="*/ 45 h 150"/>
                <a:gd name="T52" fmla="*/ 75 w 150"/>
                <a:gd name="T53" fmla="*/ 46 h 150"/>
                <a:gd name="T54" fmla="*/ 66 w 150"/>
                <a:gd name="T55" fmla="*/ 43 h 150"/>
                <a:gd name="T56" fmla="*/ 50 w 150"/>
                <a:gd name="T57" fmla="*/ 58 h 150"/>
                <a:gd name="T58" fmla="*/ 53 w 150"/>
                <a:gd name="T59" fmla="*/ 66 h 150"/>
                <a:gd name="T60" fmla="*/ 52 w 150"/>
                <a:gd name="T61" fmla="*/ 71 h 150"/>
                <a:gd name="T62" fmla="*/ 99 w 150"/>
                <a:gd name="T63" fmla="*/ 89 h 150"/>
                <a:gd name="T64" fmla="*/ 120 w 150"/>
                <a:gd name="T65" fmla="*/ 111 h 150"/>
                <a:gd name="T66" fmla="*/ 120 w 150"/>
                <a:gd name="T67" fmla="*/ 120 h 150"/>
                <a:gd name="T68" fmla="*/ 119 w 150"/>
                <a:gd name="T69" fmla="*/ 136 h 150"/>
                <a:gd name="T70" fmla="*/ 147 w 150"/>
                <a:gd name="T71" fmla="*/ 98 h 150"/>
                <a:gd name="T72" fmla="*/ 129 w 150"/>
                <a:gd name="T73" fmla="*/ 101 h 150"/>
                <a:gd name="T74" fmla="*/ 120 w 150"/>
                <a:gd name="T75" fmla="*/ 111 h 150"/>
                <a:gd name="T76" fmla="*/ 96 w 150"/>
                <a:gd name="T77" fmla="*/ 100 h 150"/>
                <a:gd name="T78" fmla="*/ 45 w 150"/>
                <a:gd name="T79" fmla="*/ 80 h 150"/>
                <a:gd name="T80" fmla="*/ 37 w 150"/>
                <a:gd name="T81" fmla="*/ 82 h 150"/>
                <a:gd name="T82" fmla="*/ 33 w 150"/>
                <a:gd name="T83" fmla="*/ 82 h 150"/>
                <a:gd name="T84" fmla="*/ 20 w 150"/>
                <a:gd name="T85" fmla="*/ 127 h 150"/>
                <a:gd name="T86" fmla="*/ 46 w 150"/>
                <a:gd name="T87" fmla="*/ 145 h 150"/>
                <a:gd name="T88" fmla="*/ 96 w 150"/>
                <a:gd name="T89" fmla="*/ 100 h 150"/>
                <a:gd name="T90" fmla="*/ 126 w 150"/>
                <a:gd name="T91" fmla="*/ 20 h 150"/>
                <a:gd name="T92" fmla="*/ 91 w 150"/>
                <a:gd name="T93" fmla="*/ 28 h 150"/>
                <a:gd name="T94" fmla="*/ 91 w 150"/>
                <a:gd name="T95" fmla="*/ 30 h 150"/>
                <a:gd name="T96" fmla="*/ 90 w 150"/>
                <a:gd name="T97" fmla="*/ 37 h 150"/>
                <a:gd name="T98" fmla="*/ 114 w 150"/>
                <a:gd name="T99" fmla="*/ 80 h 150"/>
                <a:gd name="T100" fmla="*/ 128 w 150"/>
                <a:gd name="T101" fmla="*/ 90 h 150"/>
                <a:gd name="T102" fmla="*/ 149 w 150"/>
                <a:gd name="T103" fmla="*/ 86 h 150"/>
                <a:gd name="T104" fmla="*/ 150 w 150"/>
                <a:gd name="T105" fmla="*/ 75 h 150"/>
                <a:gd name="T106" fmla="*/ 126 w 150"/>
                <a:gd name="T107" fmla="*/ 20 h 150"/>
                <a:gd name="T108" fmla="*/ 104 w 150"/>
                <a:gd name="T109" fmla="*/ 109 h 150"/>
                <a:gd name="T110" fmla="*/ 57 w 150"/>
                <a:gd name="T111" fmla="*/ 148 h 150"/>
                <a:gd name="T112" fmla="*/ 75 w 150"/>
                <a:gd name="T113" fmla="*/ 150 h 150"/>
                <a:gd name="T114" fmla="*/ 107 w 150"/>
                <a:gd name="T115" fmla="*/ 143 h 150"/>
                <a:gd name="T116" fmla="*/ 109 w 150"/>
                <a:gd name="T117" fmla="*/ 120 h 150"/>
                <a:gd name="T118" fmla="*/ 109 w 150"/>
                <a:gd name="T119" fmla="*/ 111 h 150"/>
                <a:gd name="T120" fmla="*/ 104 w 150"/>
                <a:gd name="T121" fmla="*/ 10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37" y="50"/>
                  </a:moveTo>
                  <a:cubicBezTo>
                    <a:pt x="38" y="50"/>
                    <a:pt x="40" y="50"/>
                    <a:pt x="41" y="51"/>
                  </a:cubicBezTo>
                  <a:cubicBezTo>
                    <a:pt x="47" y="45"/>
                    <a:pt x="53" y="39"/>
                    <a:pt x="60" y="34"/>
                  </a:cubicBezTo>
                  <a:cubicBezTo>
                    <a:pt x="60" y="33"/>
                    <a:pt x="59" y="31"/>
                    <a:pt x="59" y="30"/>
                  </a:cubicBezTo>
                  <a:cubicBezTo>
                    <a:pt x="59" y="28"/>
                    <a:pt x="60" y="27"/>
                    <a:pt x="60" y="25"/>
                  </a:cubicBezTo>
                  <a:cubicBezTo>
                    <a:pt x="53" y="20"/>
                    <a:pt x="45" y="15"/>
                    <a:pt x="36" y="12"/>
                  </a:cubicBezTo>
                  <a:cubicBezTo>
                    <a:pt x="28" y="17"/>
                    <a:pt x="20" y="23"/>
                    <a:pt x="15" y="31"/>
                  </a:cubicBezTo>
                  <a:cubicBezTo>
                    <a:pt x="19" y="38"/>
                    <a:pt x="24" y="45"/>
                    <a:pt x="30" y="52"/>
                  </a:cubicBezTo>
                  <a:cubicBezTo>
                    <a:pt x="32" y="51"/>
                    <a:pt x="34" y="50"/>
                    <a:pt x="37" y="50"/>
                  </a:cubicBezTo>
                  <a:close/>
                  <a:moveTo>
                    <a:pt x="21" y="66"/>
                  </a:moveTo>
                  <a:cubicBezTo>
                    <a:pt x="21" y="64"/>
                    <a:pt x="21" y="62"/>
                    <a:pt x="22" y="60"/>
                  </a:cubicBezTo>
                  <a:cubicBezTo>
                    <a:pt x="17" y="54"/>
                    <a:pt x="12" y="48"/>
                    <a:pt x="8" y="42"/>
                  </a:cubicBezTo>
                  <a:cubicBezTo>
                    <a:pt x="3" y="52"/>
                    <a:pt x="0" y="63"/>
                    <a:pt x="0" y="75"/>
                  </a:cubicBezTo>
                  <a:cubicBezTo>
                    <a:pt x="0" y="89"/>
                    <a:pt x="4" y="103"/>
                    <a:pt x="11" y="114"/>
                  </a:cubicBezTo>
                  <a:cubicBezTo>
                    <a:pt x="13" y="100"/>
                    <a:pt x="18" y="88"/>
                    <a:pt x="24" y="76"/>
                  </a:cubicBezTo>
                  <a:cubicBezTo>
                    <a:pt x="22" y="73"/>
                    <a:pt x="21" y="70"/>
                    <a:pt x="21" y="66"/>
                  </a:cubicBezTo>
                  <a:close/>
                  <a:moveTo>
                    <a:pt x="75" y="14"/>
                  </a:moveTo>
                  <a:cubicBezTo>
                    <a:pt x="80" y="14"/>
                    <a:pt x="83" y="16"/>
                    <a:pt x="86" y="18"/>
                  </a:cubicBezTo>
                  <a:cubicBezTo>
                    <a:pt x="95" y="15"/>
                    <a:pt x="103" y="12"/>
                    <a:pt x="113" y="10"/>
                  </a:cubicBezTo>
                  <a:cubicBezTo>
                    <a:pt x="102" y="4"/>
                    <a:pt x="89" y="0"/>
                    <a:pt x="75" y="0"/>
                  </a:cubicBezTo>
                  <a:cubicBezTo>
                    <a:pt x="66" y="0"/>
                    <a:pt x="57" y="2"/>
                    <a:pt x="49" y="5"/>
                  </a:cubicBezTo>
                  <a:cubicBezTo>
                    <a:pt x="55" y="8"/>
                    <a:pt x="61" y="12"/>
                    <a:pt x="67" y="16"/>
                  </a:cubicBezTo>
                  <a:cubicBezTo>
                    <a:pt x="70" y="15"/>
                    <a:pt x="72" y="14"/>
                    <a:pt x="75" y="14"/>
                  </a:cubicBezTo>
                  <a:close/>
                  <a:moveTo>
                    <a:pt x="99" y="89"/>
                  </a:moveTo>
                  <a:cubicBezTo>
                    <a:pt x="100" y="87"/>
                    <a:pt x="102" y="85"/>
                    <a:pt x="103" y="84"/>
                  </a:cubicBezTo>
                  <a:cubicBezTo>
                    <a:pt x="99" y="69"/>
                    <a:pt x="91" y="56"/>
                    <a:pt x="82" y="45"/>
                  </a:cubicBezTo>
                  <a:cubicBezTo>
                    <a:pt x="80" y="46"/>
                    <a:pt x="78" y="46"/>
                    <a:pt x="75" y="46"/>
                  </a:cubicBezTo>
                  <a:cubicBezTo>
                    <a:pt x="72" y="46"/>
                    <a:pt x="69" y="45"/>
                    <a:pt x="66" y="43"/>
                  </a:cubicBezTo>
                  <a:cubicBezTo>
                    <a:pt x="60" y="47"/>
                    <a:pt x="55" y="52"/>
                    <a:pt x="50" y="58"/>
                  </a:cubicBezTo>
                  <a:cubicBezTo>
                    <a:pt x="52" y="60"/>
                    <a:pt x="53" y="63"/>
                    <a:pt x="53" y="66"/>
                  </a:cubicBezTo>
                  <a:cubicBezTo>
                    <a:pt x="53" y="68"/>
                    <a:pt x="52" y="69"/>
                    <a:pt x="52" y="71"/>
                  </a:cubicBezTo>
                  <a:cubicBezTo>
                    <a:pt x="66" y="80"/>
                    <a:pt x="82" y="87"/>
                    <a:pt x="99" y="89"/>
                  </a:cubicBezTo>
                  <a:close/>
                  <a:moveTo>
                    <a:pt x="120" y="111"/>
                  </a:moveTo>
                  <a:cubicBezTo>
                    <a:pt x="120" y="114"/>
                    <a:pt x="120" y="117"/>
                    <a:pt x="120" y="120"/>
                  </a:cubicBezTo>
                  <a:cubicBezTo>
                    <a:pt x="120" y="125"/>
                    <a:pt x="120" y="131"/>
                    <a:pt x="119" y="136"/>
                  </a:cubicBezTo>
                  <a:cubicBezTo>
                    <a:pt x="132" y="127"/>
                    <a:pt x="142" y="114"/>
                    <a:pt x="147" y="98"/>
                  </a:cubicBezTo>
                  <a:cubicBezTo>
                    <a:pt x="141" y="100"/>
                    <a:pt x="135" y="101"/>
                    <a:pt x="129" y="101"/>
                  </a:cubicBezTo>
                  <a:cubicBezTo>
                    <a:pt x="127" y="106"/>
                    <a:pt x="124" y="109"/>
                    <a:pt x="120" y="111"/>
                  </a:cubicBezTo>
                  <a:close/>
                  <a:moveTo>
                    <a:pt x="96" y="100"/>
                  </a:moveTo>
                  <a:cubicBezTo>
                    <a:pt x="77" y="97"/>
                    <a:pt x="60" y="90"/>
                    <a:pt x="45" y="80"/>
                  </a:cubicBezTo>
                  <a:cubicBezTo>
                    <a:pt x="43" y="81"/>
                    <a:pt x="40" y="82"/>
                    <a:pt x="37" y="82"/>
                  </a:cubicBezTo>
                  <a:cubicBezTo>
                    <a:pt x="35" y="82"/>
                    <a:pt x="34" y="82"/>
                    <a:pt x="33" y="82"/>
                  </a:cubicBezTo>
                  <a:cubicBezTo>
                    <a:pt x="26" y="95"/>
                    <a:pt x="22" y="111"/>
                    <a:pt x="20" y="127"/>
                  </a:cubicBezTo>
                  <a:cubicBezTo>
                    <a:pt x="27" y="134"/>
                    <a:pt x="36" y="140"/>
                    <a:pt x="46" y="145"/>
                  </a:cubicBezTo>
                  <a:cubicBezTo>
                    <a:pt x="58" y="126"/>
                    <a:pt x="75" y="110"/>
                    <a:pt x="96" y="100"/>
                  </a:cubicBezTo>
                  <a:close/>
                  <a:moveTo>
                    <a:pt x="126" y="20"/>
                  </a:moveTo>
                  <a:cubicBezTo>
                    <a:pt x="114" y="21"/>
                    <a:pt x="102" y="24"/>
                    <a:pt x="91" y="28"/>
                  </a:cubicBezTo>
                  <a:cubicBezTo>
                    <a:pt x="91" y="29"/>
                    <a:pt x="91" y="30"/>
                    <a:pt x="91" y="30"/>
                  </a:cubicBezTo>
                  <a:cubicBezTo>
                    <a:pt x="91" y="33"/>
                    <a:pt x="91" y="35"/>
                    <a:pt x="90" y="37"/>
                  </a:cubicBezTo>
                  <a:cubicBezTo>
                    <a:pt x="100" y="50"/>
                    <a:pt x="109" y="64"/>
                    <a:pt x="114" y="80"/>
                  </a:cubicBezTo>
                  <a:cubicBezTo>
                    <a:pt x="120" y="80"/>
                    <a:pt x="126" y="84"/>
                    <a:pt x="128" y="90"/>
                  </a:cubicBezTo>
                  <a:cubicBezTo>
                    <a:pt x="136" y="89"/>
                    <a:pt x="143" y="88"/>
                    <a:pt x="149" y="86"/>
                  </a:cubicBezTo>
                  <a:cubicBezTo>
                    <a:pt x="150" y="82"/>
                    <a:pt x="150" y="79"/>
                    <a:pt x="150" y="75"/>
                  </a:cubicBezTo>
                  <a:cubicBezTo>
                    <a:pt x="150" y="53"/>
                    <a:pt x="141" y="34"/>
                    <a:pt x="126" y="20"/>
                  </a:cubicBezTo>
                  <a:close/>
                  <a:moveTo>
                    <a:pt x="104" y="109"/>
                  </a:moveTo>
                  <a:cubicBezTo>
                    <a:pt x="84" y="118"/>
                    <a:pt x="69" y="131"/>
                    <a:pt x="57" y="148"/>
                  </a:cubicBezTo>
                  <a:cubicBezTo>
                    <a:pt x="63" y="150"/>
                    <a:pt x="69" y="150"/>
                    <a:pt x="75" y="150"/>
                  </a:cubicBezTo>
                  <a:cubicBezTo>
                    <a:pt x="86" y="150"/>
                    <a:pt x="97" y="148"/>
                    <a:pt x="107" y="143"/>
                  </a:cubicBezTo>
                  <a:cubicBezTo>
                    <a:pt x="108" y="136"/>
                    <a:pt x="109" y="128"/>
                    <a:pt x="109" y="120"/>
                  </a:cubicBezTo>
                  <a:cubicBezTo>
                    <a:pt x="109" y="117"/>
                    <a:pt x="109" y="114"/>
                    <a:pt x="109" y="111"/>
                  </a:cubicBezTo>
                  <a:cubicBezTo>
                    <a:pt x="107" y="111"/>
                    <a:pt x="105" y="110"/>
                    <a:pt x="104" y="1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2" name="Group 41"/>
          <p:cNvGrpSpPr/>
          <p:nvPr/>
        </p:nvGrpSpPr>
        <p:grpSpPr>
          <a:xfrm>
            <a:off x="7460016" y="2802396"/>
            <a:ext cx="320040" cy="320040"/>
            <a:chOff x="3136397" y="1799952"/>
            <a:chExt cx="754756" cy="754757"/>
          </a:xfrm>
        </p:grpSpPr>
        <p:sp>
          <p:nvSpPr>
            <p:cNvPr id="43" name="Oval 42"/>
            <p:cNvSpPr/>
            <p:nvPr/>
          </p:nvSpPr>
          <p:spPr>
            <a:xfrm rot="15256471">
              <a:off x="3136396" y="1799953"/>
              <a:ext cx="754757" cy="754756"/>
            </a:xfrm>
            <a:prstGeom prst="ellipse">
              <a:avLst/>
            </a:prstGeom>
            <a:solidFill>
              <a:srgbClr val="00A1DE"/>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44" name="Freeform 63"/>
            <p:cNvSpPr>
              <a:spLocks noChangeAspect="1"/>
            </p:cNvSpPr>
            <p:nvPr/>
          </p:nvSpPr>
          <p:spPr bwMode="auto">
            <a:xfrm>
              <a:off x="3216957" y="2015623"/>
              <a:ext cx="590643" cy="274320"/>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8" name="Group 47"/>
          <p:cNvGrpSpPr/>
          <p:nvPr/>
        </p:nvGrpSpPr>
        <p:grpSpPr>
          <a:xfrm>
            <a:off x="1654474" y="2850149"/>
            <a:ext cx="320040" cy="320040"/>
            <a:chOff x="3136397" y="1799952"/>
            <a:chExt cx="754756" cy="754757"/>
          </a:xfrm>
        </p:grpSpPr>
        <p:sp>
          <p:nvSpPr>
            <p:cNvPr id="49" name="Oval 48"/>
            <p:cNvSpPr/>
            <p:nvPr/>
          </p:nvSpPr>
          <p:spPr>
            <a:xfrm rot="15256471">
              <a:off x="3136396" y="1799953"/>
              <a:ext cx="754757" cy="754756"/>
            </a:xfrm>
            <a:prstGeom prst="ellipse">
              <a:avLst/>
            </a:prstGeom>
            <a:solidFill>
              <a:srgbClr val="00A1DE"/>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50" name="Freeform 63"/>
            <p:cNvSpPr>
              <a:spLocks noChangeAspect="1"/>
            </p:cNvSpPr>
            <p:nvPr/>
          </p:nvSpPr>
          <p:spPr bwMode="auto">
            <a:xfrm>
              <a:off x="3216957" y="2015623"/>
              <a:ext cx="590643" cy="274320"/>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53" name="Rounded Rectangle 52"/>
          <p:cNvSpPr/>
          <p:nvPr/>
        </p:nvSpPr>
        <p:spPr bwMode="gray">
          <a:xfrm>
            <a:off x="5591454" y="4835629"/>
            <a:ext cx="3629487" cy="850929"/>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900" dirty="0">
              <a:solidFill>
                <a:prstClr val="black"/>
              </a:solidFill>
            </a:endParaRPr>
          </a:p>
          <a:p>
            <a:pPr algn="ctr">
              <a:lnSpc>
                <a:spcPct val="106000"/>
              </a:lnSpc>
              <a:buFont typeface="Wingdings 2" pitchFamily="18" charset="2"/>
              <a:buNone/>
            </a:pPr>
            <a:r>
              <a:rPr lang="en-US" sz="900" dirty="0">
                <a:solidFill>
                  <a:prstClr val="black"/>
                </a:solidFill>
              </a:rPr>
              <a:t>Jen completes her development plan, including:</a:t>
            </a:r>
          </a:p>
          <a:p>
            <a:pPr marL="171450" indent="-171450">
              <a:lnSpc>
                <a:spcPct val="106000"/>
              </a:lnSpc>
              <a:buFont typeface="Arial" panose="020B0604020202020204" pitchFamily="34" charset="0"/>
              <a:buChar char="•"/>
            </a:pPr>
            <a:r>
              <a:rPr lang="en-US" sz="900" dirty="0">
                <a:solidFill>
                  <a:prstClr val="black"/>
                </a:solidFill>
              </a:rPr>
              <a:t>Elective Learning: Life Sciences and Up Your Game courses</a:t>
            </a:r>
          </a:p>
          <a:p>
            <a:pPr marL="171450" indent="-171450">
              <a:lnSpc>
                <a:spcPct val="106000"/>
              </a:lnSpc>
              <a:buFont typeface="Arial" panose="020B0604020202020204" pitchFamily="34" charset="0"/>
              <a:buChar char="•"/>
            </a:pPr>
            <a:r>
              <a:rPr lang="en-US" sz="900" dirty="0">
                <a:solidFill>
                  <a:prstClr val="black"/>
                </a:solidFill>
              </a:rPr>
              <a:t>Experience: Mentors new team members on her engagement</a:t>
            </a:r>
          </a:p>
          <a:p>
            <a:pPr marL="171450" indent="-171450">
              <a:lnSpc>
                <a:spcPct val="106000"/>
              </a:lnSpc>
              <a:buFont typeface="Arial" panose="020B0604020202020204" pitchFamily="34" charset="0"/>
              <a:buChar char="•"/>
            </a:pPr>
            <a:r>
              <a:rPr lang="en-US" sz="900" dirty="0">
                <a:solidFill>
                  <a:prstClr val="black"/>
                </a:solidFill>
              </a:rPr>
              <a:t>Exposure: Attends </a:t>
            </a:r>
            <a:r>
              <a:rPr lang="en-US" sz="900" dirty="0" err="1">
                <a:solidFill>
                  <a:prstClr val="black"/>
                </a:solidFill>
              </a:rPr>
              <a:t>pharma</a:t>
            </a:r>
            <a:r>
              <a:rPr lang="en-US" sz="900" dirty="0">
                <a:solidFill>
                  <a:prstClr val="black"/>
                </a:solidFill>
              </a:rPr>
              <a:t> sector community meetings</a:t>
            </a:r>
          </a:p>
        </p:txBody>
      </p:sp>
      <p:grpSp>
        <p:nvGrpSpPr>
          <p:cNvPr id="56" name="Group 55"/>
          <p:cNvGrpSpPr/>
          <p:nvPr/>
        </p:nvGrpSpPr>
        <p:grpSpPr>
          <a:xfrm>
            <a:off x="5527379" y="4706537"/>
            <a:ext cx="320040" cy="320040"/>
            <a:chOff x="5296350" y="1857616"/>
            <a:chExt cx="754757" cy="754756"/>
          </a:xfrm>
        </p:grpSpPr>
        <p:sp>
          <p:nvSpPr>
            <p:cNvPr id="57" name="Oval 56"/>
            <p:cNvSpPr/>
            <p:nvPr/>
          </p:nvSpPr>
          <p:spPr>
            <a:xfrm rot="774391">
              <a:off x="5296350" y="1857616"/>
              <a:ext cx="754757"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58" name="Freeform 9"/>
            <p:cNvSpPr>
              <a:spLocks noChangeAspect="1" noEditPoints="1"/>
            </p:cNvSpPr>
            <p:nvPr/>
          </p:nvSpPr>
          <p:spPr bwMode="auto">
            <a:xfrm>
              <a:off x="5445309" y="1943805"/>
              <a:ext cx="484038" cy="457200"/>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9" name="Group 58"/>
          <p:cNvGrpSpPr/>
          <p:nvPr/>
        </p:nvGrpSpPr>
        <p:grpSpPr>
          <a:xfrm>
            <a:off x="5907896" y="4706537"/>
            <a:ext cx="320040" cy="320040"/>
            <a:chOff x="5833572" y="3714389"/>
            <a:chExt cx="754757" cy="754754"/>
          </a:xfrm>
        </p:grpSpPr>
        <p:sp>
          <p:nvSpPr>
            <p:cNvPr id="60" name="Oval 59"/>
            <p:cNvSpPr/>
            <p:nvPr/>
          </p:nvSpPr>
          <p:spPr>
            <a:xfrm rot="4342465">
              <a:off x="5833574" y="3714387"/>
              <a:ext cx="754754" cy="754757"/>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61" name="Freeform 73"/>
            <p:cNvSpPr>
              <a:spLocks noChangeAspect="1" noEditPoints="1"/>
            </p:cNvSpPr>
            <p:nvPr/>
          </p:nvSpPr>
          <p:spPr bwMode="auto">
            <a:xfrm>
              <a:off x="5969167" y="4042045"/>
              <a:ext cx="476475" cy="182880"/>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62" name="Group 61"/>
          <p:cNvGrpSpPr/>
          <p:nvPr/>
        </p:nvGrpSpPr>
        <p:grpSpPr>
          <a:xfrm>
            <a:off x="6291560" y="4706537"/>
            <a:ext cx="320040" cy="320040"/>
            <a:chOff x="2494116" y="4965579"/>
            <a:chExt cx="754756" cy="754756"/>
          </a:xfrm>
        </p:grpSpPr>
        <p:sp>
          <p:nvSpPr>
            <p:cNvPr id="63" name="Oval 62"/>
            <p:cNvSpPr/>
            <p:nvPr/>
          </p:nvSpPr>
          <p:spPr>
            <a:xfrm rot="12143762">
              <a:off x="2494116" y="4965579"/>
              <a:ext cx="754756"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64" name="Freeform 83"/>
            <p:cNvSpPr>
              <a:spLocks noChangeAspect="1" noEditPoints="1"/>
            </p:cNvSpPr>
            <p:nvPr/>
          </p:nvSpPr>
          <p:spPr bwMode="auto">
            <a:xfrm>
              <a:off x="2636320" y="5122183"/>
              <a:ext cx="457200" cy="422792"/>
            </a:xfrm>
            <a:custGeom>
              <a:avLst/>
              <a:gdLst>
                <a:gd name="T0" fmla="*/ 37 w 150"/>
                <a:gd name="T1" fmla="*/ 50 h 150"/>
                <a:gd name="T2" fmla="*/ 41 w 150"/>
                <a:gd name="T3" fmla="*/ 51 h 150"/>
                <a:gd name="T4" fmla="*/ 60 w 150"/>
                <a:gd name="T5" fmla="*/ 34 h 150"/>
                <a:gd name="T6" fmla="*/ 59 w 150"/>
                <a:gd name="T7" fmla="*/ 30 h 150"/>
                <a:gd name="T8" fmla="*/ 60 w 150"/>
                <a:gd name="T9" fmla="*/ 25 h 150"/>
                <a:gd name="T10" fmla="*/ 36 w 150"/>
                <a:gd name="T11" fmla="*/ 12 h 150"/>
                <a:gd name="T12" fmla="*/ 15 w 150"/>
                <a:gd name="T13" fmla="*/ 31 h 150"/>
                <a:gd name="T14" fmla="*/ 30 w 150"/>
                <a:gd name="T15" fmla="*/ 52 h 150"/>
                <a:gd name="T16" fmla="*/ 37 w 150"/>
                <a:gd name="T17" fmla="*/ 50 h 150"/>
                <a:gd name="T18" fmla="*/ 21 w 150"/>
                <a:gd name="T19" fmla="*/ 66 h 150"/>
                <a:gd name="T20" fmla="*/ 22 w 150"/>
                <a:gd name="T21" fmla="*/ 60 h 150"/>
                <a:gd name="T22" fmla="*/ 8 w 150"/>
                <a:gd name="T23" fmla="*/ 42 h 150"/>
                <a:gd name="T24" fmla="*/ 0 w 150"/>
                <a:gd name="T25" fmla="*/ 75 h 150"/>
                <a:gd name="T26" fmla="*/ 11 w 150"/>
                <a:gd name="T27" fmla="*/ 114 h 150"/>
                <a:gd name="T28" fmla="*/ 24 w 150"/>
                <a:gd name="T29" fmla="*/ 76 h 150"/>
                <a:gd name="T30" fmla="*/ 21 w 150"/>
                <a:gd name="T31" fmla="*/ 66 h 150"/>
                <a:gd name="T32" fmla="*/ 75 w 150"/>
                <a:gd name="T33" fmla="*/ 14 h 150"/>
                <a:gd name="T34" fmla="*/ 86 w 150"/>
                <a:gd name="T35" fmla="*/ 18 h 150"/>
                <a:gd name="T36" fmla="*/ 113 w 150"/>
                <a:gd name="T37" fmla="*/ 10 h 150"/>
                <a:gd name="T38" fmla="*/ 75 w 150"/>
                <a:gd name="T39" fmla="*/ 0 h 150"/>
                <a:gd name="T40" fmla="*/ 49 w 150"/>
                <a:gd name="T41" fmla="*/ 5 h 150"/>
                <a:gd name="T42" fmla="*/ 67 w 150"/>
                <a:gd name="T43" fmla="*/ 16 h 150"/>
                <a:gd name="T44" fmla="*/ 75 w 150"/>
                <a:gd name="T45" fmla="*/ 14 h 150"/>
                <a:gd name="T46" fmla="*/ 99 w 150"/>
                <a:gd name="T47" fmla="*/ 89 h 150"/>
                <a:gd name="T48" fmla="*/ 103 w 150"/>
                <a:gd name="T49" fmla="*/ 84 h 150"/>
                <a:gd name="T50" fmla="*/ 82 w 150"/>
                <a:gd name="T51" fmla="*/ 45 h 150"/>
                <a:gd name="T52" fmla="*/ 75 w 150"/>
                <a:gd name="T53" fmla="*/ 46 h 150"/>
                <a:gd name="T54" fmla="*/ 66 w 150"/>
                <a:gd name="T55" fmla="*/ 43 h 150"/>
                <a:gd name="T56" fmla="*/ 50 w 150"/>
                <a:gd name="T57" fmla="*/ 58 h 150"/>
                <a:gd name="T58" fmla="*/ 53 w 150"/>
                <a:gd name="T59" fmla="*/ 66 h 150"/>
                <a:gd name="T60" fmla="*/ 52 w 150"/>
                <a:gd name="T61" fmla="*/ 71 h 150"/>
                <a:gd name="T62" fmla="*/ 99 w 150"/>
                <a:gd name="T63" fmla="*/ 89 h 150"/>
                <a:gd name="T64" fmla="*/ 120 w 150"/>
                <a:gd name="T65" fmla="*/ 111 h 150"/>
                <a:gd name="T66" fmla="*/ 120 w 150"/>
                <a:gd name="T67" fmla="*/ 120 h 150"/>
                <a:gd name="T68" fmla="*/ 119 w 150"/>
                <a:gd name="T69" fmla="*/ 136 h 150"/>
                <a:gd name="T70" fmla="*/ 147 w 150"/>
                <a:gd name="T71" fmla="*/ 98 h 150"/>
                <a:gd name="T72" fmla="*/ 129 w 150"/>
                <a:gd name="T73" fmla="*/ 101 h 150"/>
                <a:gd name="T74" fmla="*/ 120 w 150"/>
                <a:gd name="T75" fmla="*/ 111 h 150"/>
                <a:gd name="T76" fmla="*/ 96 w 150"/>
                <a:gd name="T77" fmla="*/ 100 h 150"/>
                <a:gd name="T78" fmla="*/ 45 w 150"/>
                <a:gd name="T79" fmla="*/ 80 h 150"/>
                <a:gd name="T80" fmla="*/ 37 w 150"/>
                <a:gd name="T81" fmla="*/ 82 h 150"/>
                <a:gd name="T82" fmla="*/ 33 w 150"/>
                <a:gd name="T83" fmla="*/ 82 h 150"/>
                <a:gd name="T84" fmla="*/ 20 w 150"/>
                <a:gd name="T85" fmla="*/ 127 h 150"/>
                <a:gd name="T86" fmla="*/ 46 w 150"/>
                <a:gd name="T87" fmla="*/ 145 h 150"/>
                <a:gd name="T88" fmla="*/ 96 w 150"/>
                <a:gd name="T89" fmla="*/ 100 h 150"/>
                <a:gd name="T90" fmla="*/ 126 w 150"/>
                <a:gd name="T91" fmla="*/ 20 h 150"/>
                <a:gd name="T92" fmla="*/ 91 w 150"/>
                <a:gd name="T93" fmla="*/ 28 h 150"/>
                <a:gd name="T94" fmla="*/ 91 w 150"/>
                <a:gd name="T95" fmla="*/ 30 h 150"/>
                <a:gd name="T96" fmla="*/ 90 w 150"/>
                <a:gd name="T97" fmla="*/ 37 h 150"/>
                <a:gd name="T98" fmla="*/ 114 w 150"/>
                <a:gd name="T99" fmla="*/ 80 h 150"/>
                <a:gd name="T100" fmla="*/ 128 w 150"/>
                <a:gd name="T101" fmla="*/ 90 h 150"/>
                <a:gd name="T102" fmla="*/ 149 w 150"/>
                <a:gd name="T103" fmla="*/ 86 h 150"/>
                <a:gd name="T104" fmla="*/ 150 w 150"/>
                <a:gd name="T105" fmla="*/ 75 h 150"/>
                <a:gd name="T106" fmla="*/ 126 w 150"/>
                <a:gd name="T107" fmla="*/ 20 h 150"/>
                <a:gd name="T108" fmla="*/ 104 w 150"/>
                <a:gd name="T109" fmla="*/ 109 h 150"/>
                <a:gd name="T110" fmla="*/ 57 w 150"/>
                <a:gd name="T111" fmla="*/ 148 h 150"/>
                <a:gd name="T112" fmla="*/ 75 w 150"/>
                <a:gd name="T113" fmla="*/ 150 h 150"/>
                <a:gd name="T114" fmla="*/ 107 w 150"/>
                <a:gd name="T115" fmla="*/ 143 h 150"/>
                <a:gd name="T116" fmla="*/ 109 w 150"/>
                <a:gd name="T117" fmla="*/ 120 h 150"/>
                <a:gd name="T118" fmla="*/ 109 w 150"/>
                <a:gd name="T119" fmla="*/ 111 h 150"/>
                <a:gd name="T120" fmla="*/ 104 w 150"/>
                <a:gd name="T121" fmla="*/ 10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37" y="50"/>
                  </a:moveTo>
                  <a:cubicBezTo>
                    <a:pt x="38" y="50"/>
                    <a:pt x="40" y="50"/>
                    <a:pt x="41" y="51"/>
                  </a:cubicBezTo>
                  <a:cubicBezTo>
                    <a:pt x="47" y="45"/>
                    <a:pt x="53" y="39"/>
                    <a:pt x="60" y="34"/>
                  </a:cubicBezTo>
                  <a:cubicBezTo>
                    <a:pt x="60" y="33"/>
                    <a:pt x="59" y="31"/>
                    <a:pt x="59" y="30"/>
                  </a:cubicBezTo>
                  <a:cubicBezTo>
                    <a:pt x="59" y="28"/>
                    <a:pt x="60" y="27"/>
                    <a:pt x="60" y="25"/>
                  </a:cubicBezTo>
                  <a:cubicBezTo>
                    <a:pt x="53" y="20"/>
                    <a:pt x="45" y="15"/>
                    <a:pt x="36" y="12"/>
                  </a:cubicBezTo>
                  <a:cubicBezTo>
                    <a:pt x="28" y="17"/>
                    <a:pt x="20" y="23"/>
                    <a:pt x="15" y="31"/>
                  </a:cubicBezTo>
                  <a:cubicBezTo>
                    <a:pt x="19" y="38"/>
                    <a:pt x="24" y="45"/>
                    <a:pt x="30" y="52"/>
                  </a:cubicBezTo>
                  <a:cubicBezTo>
                    <a:pt x="32" y="51"/>
                    <a:pt x="34" y="50"/>
                    <a:pt x="37" y="50"/>
                  </a:cubicBezTo>
                  <a:close/>
                  <a:moveTo>
                    <a:pt x="21" y="66"/>
                  </a:moveTo>
                  <a:cubicBezTo>
                    <a:pt x="21" y="64"/>
                    <a:pt x="21" y="62"/>
                    <a:pt x="22" y="60"/>
                  </a:cubicBezTo>
                  <a:cubicBezTo>
                    <a:pt x="17" y="54"/>
                    <a:pt x="12" y="48"/>
                    <a:pt x="8" y="42"/>
                  </a:cubicBezTo>
                  <a:cubicBezTo>
                    <a:pt x="3" y="52"/>
                    <a:pt x="0" y="63"/>
                    <a:pt x="0" y="75"/>
                  </a:cubicBezTo>
                  <a:cubicBezTo>
                    <a:pt x="0" y="89"/>
                    <a:pt x="4" y="103"/>
                    <a:pt x="11" y="114"/>
                  </a:cubicBezTo>
                  <a:cubicBezTo>
                    <a:pt x="13" y="100"/>
                    <a:pt x="18" y="88"/>
                    <a:pt x="24" y="76"/>
                  </a:cubicBezTo>
                  <a:cubicBezTo>
                    <a:pt x="22" y="73"/>
                    <a:pt x="21" y="70"/>
                    <a:pt x="21" y="66"/>
                  </a:cubicBezTo>
                  <a:close/>
                  <a:moveTo>
                    <a:pt x="75" y="14"/>
                  </a:moveTo>
                  <a:cubicBezTo>
                    <a:pt x="80" y="14"/>
                    <a:pt x="83" y="16"/>
                    <a:pt x="86" y="18"/>
                  </a:cubicBezTo>
                  <a:cubicBezTo>
                    <a:pt x="95" y="15"/>
                    <a:pt x="103" y="12"/>
                    <a:pt x="113" y="10"/>
                  </a:cubicBezTo>
                  <a:cubicBezTo>
                    <a:pt x="102" y="4"/>
                    <a:pt x="89" y="0"/>
                    <a:pt x="75" y="0"/>
                  </a:cubicBezTo>
                  <a:cubicBezTo>
                    <a:pt x="66" y="0"/>
                    <a:pt x="57" y="2"/>
                    <a:pt x="49" y="5"/>
                  </a:cubicBezTo>
                  <a:cubicBezTo>
                    <a:pt x="55" y="8"/>
                    <a:pt x="61" y="12"/>
                    <a:pt x="67" y="16"/>
                  </a:cubicBezTo>
                  <a:cubicBezTo>
                    <a:pt x="70" y="15"/>
                    <a:pt x="72" y="14"/>
                    <a:pt x="75" y="14"/>
                  </a:cubicBezTo>
                  <a:close/>
                  <a:moveTo>
                    <a:pt x="99" y="89"/>
                  </a:moveTo>
                  <a:cubicBezTo>
                    <a:pt x="100" y="87"/>
                    <a:pt x="102" y="85"/>
                    <a:pt x="103" y="84"/>
                  </a:cubicBezTo>
                  <a:cubicBezTo>
                    <a:pt x="99" y="69"/>
                    <a:pt x="91" y="56"/>
                    <a:pt x="82" y="45"/>
                  </a:cubicBezTo>
                  <a:cubicBezTo>
                    <a:pt x="80" y="46"/>
                    <a:pt x="78" y="46"/>
                    <a:pt x="75" y="46"/>
                  </a:cubicBezTo>
                  <a:cubicBezTo>
                    <a:pt x="72" y="46"/>
                    <a:pt x="69" y="45"/>
                    <a:pt x="66" y="43"/>
                  </a:cubicBezTo>
                  <a:cubicBezTo>
                    <a:pt x="60" y="47"/>
                    <a:pt x="55" y="52"/>
                    <a:pt x="50" y="58"/>
                  </a:cubicBezTo>
                  <a:cubicBezTo>
                    <a:pt x="52" y="60"/>
                    <a:pt x="53" y="63"/>
                    <a:pt x="53" y="66"/>
                  </a:cubicBezTo>
                  <a:cubicBezTo>
                    <a:pt x="53" y="68"/>
                    <a:pt x="52" y="69"/>
                    <a:pt x="52" y="71"/>
                  </a:cubicBezTo>
                  <a:cubicBezTo>
                    <a:pt x="66" y="80"/>
                    <a:pt x="82" y="87"/>
                    <a:pt x="99" y="89"/>
                  </a:cubicBezTo>
                  <a:close/>
                  <a:moveTo>
                    <a:pt x="120" y="111"/>
                  </a:moveTo>
                  <a:cubicBezTo>
                    <a:pt x="120" y="114"/>
                    <a:pt x="120" y="117"/>
                    <a:pt x="120" y="120"/>
                  </a:cubicBezTo>
                  <a:cubicBezTo>
                    <a:pt x="120" y="125"/>
                    <a:pt x="120" y="131"/>
                    <a:pt x="119" y="136"/>
                  </a:cubicBezTo>
                  <a:cubicBezTo>
                    <a:pt x="132" y="127"/>
                    <a:pt x="142" y="114"/>
                    <a:pt x="147" y="98"/>
                  </a:cubicBezTo>
                  <a:cubicBezTo>
                    <a:pt x="141" y="100"/>
                    <a:pt x="135" y="101"/>
                    <a:pt x="129" y="101"/>
                  </a:cubicBezTo>
                  <a:cubicBezTo>
                    <a:pt x="127" y="106"/>
                    <a:pt x="124" y="109"/>
                    <a:pt x="120" y="111"/>
                  </a:cubicBezTo>
                  <a:close/>
                  <a:moveTo>
                    <a:pt x="96" y="100"/>
                  </a:moveTo>
                  <a:cubicBezTo>
                    <a:pt x="77" y="97"/>
                    <a:pt x="60" y="90"/>
                    <a:pt x="45" y="80"/>
                  </a:cubicBezTo>
                  <a:cubicBezTo>
                    <a:pt x="43" y="81"/>
                    <a:pt x="40" y="82"/>
                    <a:pt x="37" y="82"/>
                  </a:cubicBezTo>
                  <a:cubicBezTo>
                    <a:pt x="35" y="82"/>
                    <a:pt x="34" y="82"/>
                    <a:pt x="33" y="82"/>
                  </a:cubicBezTo>
                  <a:cubicBezTo>
                    <a:pt x="26" y="95"/>
                    <a:pt x="22" y="111"/>
                    <a:pt x="20" y="127"/>
                  </a:cubicBezTo>
                  <a:cubicBezTo>
                    <a:pt x="27" y="134"/>
                    <a:pt x="36" y="140"/>
                    <a:pt x="46" y="145"/>
                  </a:cubicBezTo>
                  <a:cubicBezTo>
                    <a:pt x="58" y="126"/>
                    <a:pt x="75" y="110"/>
                    <a:pt x="96" y="100"/>
                  </a:cubicBezTo>
                  <a:close/>
                  <a:moveTo>
                    <a:pt x="126" y="20"/>
                  </a:moveTo>
                  <a:cubicBezTo>
                    <a:pt x="114" y="21"/>
                    <a:pt x="102" y="24"/>
                    <a:pt x="91" y="28"/>
                  </a:cubicBezTo>
                  <a:cubicBezTo>
                    <a:pt x="91" y="29"/>
                    <a:pt x="91" y="30"/>
                    <a:pt x="91" y="30"/>
                  </a:cubicBezTo>
                  <a:cubicBezTo>
                    <a:pt x="91" y="33"/>
                    <a:pt x="91" y="35"/>
                    <a:pt x="90" y="37"/>
                  </a:cubicBezTo>
                  <a:cubicBezTo>
                    <a:pt x="100" y="50"/>
                    <a:pt x="109" y="64"/>
                    <a:pt x="114" y="80"/>
                  </a:cubicBezTo>
                  <a:cubicBezTo>
                    <a:pt x="120" y="80"/>
                    <a:pt x="126" y="84"/>
                    <a:pt x="128" y="90"/>
                  </a:cubicBezTo>
                  <a:cubicBezTo>
                    <a:pt x="136" y="89"/>
                    <a:pt x="143" y="88"/>
                    <a:pt x="149" y="86"/>
                  </a:cubicBezTo>
                  <a:cubicBezTo>
                    <a:pt x="150" y="82"/>
                    <a:pt x="150" y="79"/>
                    <a:pt x="150" y="75"/>
                  </a:cubicBezTo>
                  <a:cubicBezTo>
                    <a:pt x="150" y="53"/>
                    <a:pt x="141" y="34"/>
                    <a:pt x="126" y="20"/>
                  </a:cubicBezTo>
                  <a:close/>
                  <a:moveTo>
                    <a:pt x="104" y="109"/>
                  </a:moveTo>
                  <a:cubicBezTo>
                    <a:pt x="84" y="118"/>
                    <a:pt x="69" y="131"/>
                    <a:pt x="57" y="148"/>
                  </a:cubicBezTo>
                  <a:cubicBezTo>
                    <a:pt x="63" y="150"/>
                    <a:pt x="69" y="150"/>
                    <a:pt x="75" y="150"/>
                  </a:cubicBezTo>
                  <a:cubicBezTo>
                    <a:pt x="86" y="150"/>
                    <a:pt x="97" y="148"/>
                    <a:pt x="107" y="143"/>
                  </a:cubicBezTo>
                  <a:cubicBezTo>
                    <a:pt x="108" y="136"/>
                    <a:pt x="109" y="128"/>
                    <a:pt x="109" y="120"/>
                  </a:cubicBezTo>
                  <a:cubicBezTo>
                    <a:pt x="109" y="117"/>
                    <a:pt x="109" y="114"/>
                    <a:pt x="109" y="111"/>
                  </a:cubicBezTo>
                  <a:cubicBezTo>
                    <a:pt x="107" y="111"/>
                    <a:pt x="105" y="110"/>
                    <a:pt x="104" y="1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65" name="TextBox 64"/>
          <p:cNvSpPr txBox="1"/>
          <p:nvPr/>
        </p:nvSpPr>
        <p:spPr>
          <a:xfrm>
            <a:off x="3163282" y="2234598"/>
            <a:ext cx="766972" cy="123111"/>
          </a:xfrm>
          <a:prstGeom prst="rect">
            <a:avLst/>
          </a:prstGeom>
          <a:solidFill>
            <a:schemeClr val="bg1"/>
          </a:solidFill>
        </p:spPr>
        <p:txBody>
          <a:bodyPr wrap="square" lIns="0" tIns="0" rIns="0" bIns="0" rtlCol="0">
            <a:spAutoFit/>
          </a:bodyPr>
          <a:lstStyle/>
          <a:p>
            <a:pPr algn="ctr">
              <a:spcBef>
                <a:spcPts val="1200"/>
              </a:spcBef>
              <a:buSzPct val="25000"/>
              <a:buFont typeface="Arial" panose="020B0604020202020204" pitchFamily="34" charset="0"/>
              <a:buChar char="‏"/>
            </a:pPr>
            <a:r>
              <a:rPr lang="en-US" sz="800" i="1" dirty="0">
                <a:solidFill>
                  <a:prstClr val="white">
                    <a:lumMod val="50000"/>
                  </a:prstClr>
                </a:solidFill>
              </a:rPr>
              <a:t>Busy Season</a:t>
            </a:r>
          </a:p>
        </p:txBody>
      </p:sp>
      <p:grpSp>
        <p:nvGrpSpPr>
          <p:cNvPr id="66" name="Group 65"/>
          <p:cNvGrpSpPr/>
          <p:nvPr/>
        </p:nvGrpSpPr>
        <p:grpSpPr>
          <a:xfrm>
            <a:off x="3631501" y="2788347"/>
            <a:ext cx="320040" cy="320040"/>
            <a:chOff x="5442702" y="5012669"/>
            <a:chExt cx="443425" cy="443425"/>
          </a:xfrm>
        </p:grpSpPr>
        <p:sp>
          <p:nvSpPr>
            <p:cNvPr id="68" name="Oval 67"/>
            <p:cNvSpPr/>
            <p:nvPr/>
          </p:nvSpPr>
          <p:spPr>
            <a:xfrm rot="15256471">
              <a:off x="5442702" y="5012669"/>
              <a:ext cx="443425" cy="443425"/>
            </a:xfrm>
            <a:prstGeom prst="ellipse">
              <a:avLst/>
            </a:prstGeom>
            <a:solidFill>
              <a:schemeClr val="accent1"/>
            </a:solid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sp>
          <p:nvSpPr>
            <p:cNvPr id="69" name="Freeform 9"/>
            <p:cNvSpPr>
              <a:spLocks noChangeAspect="1" noEditPoints="1"/>
            </p:cNvSpPr>
            <p:nvPr/>
          </p:nvSpPr>
          <p:spPr bwMode="auto">
            <a:xfrm>
              <a:off x="5526042" y="5078114"/>
              <a:ext cx="312269" cy="294773"/>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4" name="Rectangle 73"/>
          <p:cNvSpPr/>
          <p:nvPr/>
        </p:nvSpPr>
        <p:spPr bwMode="gray">
          <a:xfrm>
            <a:off x="1889760" y="5801862"/>
            <a:ext cx="8412480" cy="1007074"/>
          </a:xfrm>
          <a:prstGeom prst="rect">
            <a:avLst/>
          </a:prstGeom>
          <a:ln w="28575">
            <a:solidFill>
              <a:schemeClr val="accent1"/>
            </a:solidFill>
            <a:headEnd/>
            <a:tailEnd/>
          </a:ln>
        </p:spPr>
        <p:style>
          <a:lnRef idx="2">
            <a:schemeClr val="accent3"/>
          </a:lnRef>
          <a:fillRef idx="1">
            <a:schemeClr val="lt1"/>
          </a:fillRef>
          <a:effectRef idx="0">
            <a:schemeClr val="accent3"/>
          </a:effectRef>
          <a:fontRef idx="minor">
            <a:schemeClr val="dk1"/>
          </a:fontRef>
        </p:style>
        <p:txBody>
          <a:bodyPr wrap="square" lIns="88900" tIns="45720" rIns="88900" bIns="88900" rtlCol="0" anchor="t"/>
          <a:lstStyle/>
          <a:p>
            <a:pPr algn="ctr"/>
            <a:r>
              <a:rPr lang="en-US" sz="1400" b="1" i="1" u="sng" dirty="0">
                <a:solidFill>
                  <a:srgbClr val="002776"/>
                </a:solidFill>
              </a:rPr>
              <a:t>Our Expectations for Learners:</a:t>
            </a:r>
          </a:p>
          <a:p>
            <a:pPr algn="ctr"/>
            <a:r>
              <a:rPr lang="en-US" sz="1100" b="1" dirty="0">
                <a:solidFill>
                  <a:srgbClr val="002776"/>
                </a:solidFill>
              </a:rPr>
              <a:t> </a:t>
            </a:r>
          </a:p>
        </p:txBody>
      </p:sp>
      <p:sp>
        <p:nvSpPr>
          <p:cNvPr id="75" name="Rectangle 74"/>
          <p:cNvSpPr/>
          <p:nvPr/>
        </p:nvSpPr>
        <p:spPr>
          <a:xfrm>
            <a:off x="1979468" y="6043638"/>
            <a:ext cx="6965033" cy="738664"/>
          </a:xfrm>
          <a:prstGeom prst="rect">
            <a:avLst/>
          </a:prstGeom>
        </p:spPr>
        <p:txBody>
          <a:bodyPr wrap="square" lIns="45720" rIns="45720">
            <a:spAutoFit/>
          </a:bodyPr>
          <a:lstStyle/>
          <a:p>
            <a:pPr marL="171450" indent="-171450">
              <a:buFont typeface="Arial" panose="020B0604020202020204" pitchFamily="34" charset="0"/>
              <a:buChar char="•"/>
            </a:pPr>
            <a:r>
              <a:rPr lang="en-US" sz="1050" b="1" dirty="0">
                <a:solidFill>
                  <a:srgbClr val="002776"/>
                </a:solidFill>
              </a:rPr>
              <a:t>Complete Core Learning week, including all pre- and post-assessment and activity requirements</a:t>
            </a:r>
          </a:p>
          <a:p>
            <a:pPr marL="171450" indent="-171450">
              <a:buFont typeface="Arial" panose="020B0604020202020204" pitchFamily="34" charset="0"/>
              <a:buChar char="•"/>
            </a:pPr>
            <a:r>
              <a:rPr lang="en-US" sz="1050" b="1" dirty="0">
                <a:solidFill>
                  <a:srgbClr val="002776"/>
                </a:solidFill>
              </a:rPr>
              <a:t>Complete JIT Learning Pathway to support ongoing learning and development</a:t>
            </a:r>
          </a:p>
          <a:p>
            <a:pPr marL="171450" indent="-171450">
              <a:buFont typeface="Arial" panose="020B0604020202020204" pitchFamily="34" charset="0"/>
              <a:buChar char="•"/>
            </a:pPr>
            <a:r>
              <a:rPr lang="en-US" sz="1050" b="1" dirty="0">
                <a:solidFill>
                  <a:srgbClr val="002776"/>
                </a:solidFill>
              </a:rPr>
              <a:t>Complete all elements of a Personal Development Plan, including Professional &amp; Leadership and Industry elective learning, as well as agreed upon Experience &amp; Exposure activities.</a:t>
            </a:r>
          </a:p>
        </p:txBody>
      </p:sp>
      <p:grpSp>
        <p:nvGrpSpPr>
          <p:cNvPr id="10" name="Group 9"/>
          <p:cNvGrpSpPr/>
          <p:nvPr/>
        </p:nvGrpSpPr>
        <p:grpSpPr>
          <a:xfrm>
            <a:off x="9009221" y="5931820"/>
            <a:ext cx="1125758" cy="814665"/>
            <a:chOff x="7616118" y="5856590"/>
            <a:chExt cx="1125758" cy="814665"/>
          </a:xfrm>
        </p:grpSpPr>
        <p:sp>
          <p:nvSpPr>
            <p:cNvPr id="12" name="TextBox 11"/>
            <p:cNvSpPr txBox="1"/>
            <p:nvPr/>
          </p:nvSpPr>
          <p:spPr>
            <a:xfrm>
              <a:off x="7908030" y="6056173"/>
              <a:ext cx="833846" cy="415498"/>
            </a:xfrm>
            <a:prstGeom prst="rect">
              <a:avLst/>
            </a:prstGeom>
            <a:noFill/>
            <a:ln w="19050">
              <a:solidFill>
                <a:schemeClr val="accent3"/>
              </a:solidFill>
            </a:ln>
          </p:spPr>
          <p:txBody>
            <a:bodyPr wrap="square" lIns="0" tIns="0" rIns="0" bIns="0" rtlCol="0">
              <a:spAutoFit/>
            </a:bodyPr>
            <a:lstStyle/>
            <a:p>
              <a:pPr algn="ctr">
                <a:spcBef>
                  <a:spcPts val="1200"/>
                </a:spcBef>
                <a:buSzPct val="25000"/>
              </a:pPr>
              <a:r>
                <a:rPr lang="en-US" sz="900" b="1" dirty="0">
                  <a:solidFill>
                    <a:srgbClr val="002776"/>
                  </a:solidFill>
                </a:rPr>
                <a:t>Inputs to Performance Management</a:t>
              </a:r>
            </a:p>
          </p:txBody>
        </p:sp>
        <p:sp>
          <p:nvSpPr>
            <p:cNvPr id="11" name="Isosceles Triangle 10"/>
            <p:cNvSpPr/>
            <p:nvPr/>
          </p:nvSpPr>
          <p:spPr bwMode="gray">
            <a:xfrm rot="5400000">
              <a:off x="7376629" y="6096079"/>
              <a:ext cx="814665" cy="335687"/>
            </a:xfrm>
            <a:prstGeom prst="triangle">
              <a:avLst>
                <a:gd name="adj" fmla="val 51507"/>
              </a:avLst>
            </a:prstGeom>
            <a:solidFill>
              <a:schemeClr val="accent5">
                <a:lumMod val="20000"/>
                <a:lumOff val="80000"/>
              </a:schemeClr>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sp>
        <p:nvSpPr>
          <p:cNvPr id="4" name="Rectangle 3"/>
          <p:cNvSpPr/>
          <p:nvPr/>
        </p:nvSpPr>
        <p:spPr bwMode="gray">
          <a:xfrm>
            <a:off x="3993953" y="2842777"/>
            <a:ext cx="1051079" cy="182880"/>
          </a:xfrm>
          <a:prstGeom prst="rect">
            <a:avLst/>
          </a:prstGeom>
          <a:solidFill>
            <a:schemeClr val="accent1"/>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en-US" sz="800" b="1" dirty="0">
                <a:solidFill>
                  <a:prstClr val="white"/>
                </a:solidFill>
              </a:rPr>
              <a:t>Assessments</a:t>
            </a:r>
          </a:p>
        </p:txBody>
      </p:sp>
      <p:sp>
        <p:nvSpPr>
          <p:cNvPr id="77" name="Rectangle 76"/>
          <p:cNvSpPr/>
          <p:nvPr/>
        </p:nvSpPr>
        <p:spPr bwMode="gray">
          <a:xfrm rot="5400000">
            <a:off x="4699947" y="3887725"/>
            <a:ext cx="324112" cy="854601"/>
          </a:xfrm>
          <a:prstGeom prst="rect">
            <a:avLst/>
          </a:prstGeom>
          <a:solidFill>
            <a:schemeClr val="accent1"/>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prstClr val="white"/>
                </a:solidFill>
              </a:rPr>
              <a:t>Development Planning</a:t>
            </a:r>
          </a:p>
        </p:txBody>
      </p:sp>
      <p:sp>
        <p:nvSpPr>
          <p:cNvPr id="80" name="Rectangle 79"/>
          <p:cNvSpPr/>
          <p:nvPr/>
        </p:nvSpPr>
        <p:spPr bwMode="gray">
          <a:xfrm>
            <a:off x="5952879" y="2842777"/>
            <a:ext cx="1051079" cy="182880"/>
          </a:xfrm>
          <a:prstGeom prst="rect">
            <a:avLst/>
          </a:prstGeom>
          <a:solidFill>
            <a:schemeClr val="accent2"/>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en-US" sz="800" b="1" dirty="0">
                <a:solidFill>
                  <a:prstClr val="white"/>
                </a:solidFill>
              </a:rPr>
              <a:t>Just-in-Time</a:t>
            </a:r>
          </a:p>
        </p:txBody>
      </p:sp>
      <p:sp>
        <p:nvSpPr>
          <p:cNvPr id="81" name="Rectangle 80"/>
          <p:cNvSpPr/>
          <p:nvPr/>
        </p:nvSpPr>
        <p:spPr bwMode="gray">
          <a:xfrm>
            <a:off x="7893422" y="2833174"/>
            <a:ext cx="1051079" cy="182880"/>
          </a:xfrm>
          <a:prstGeom prst="rect">
            <a:avLst/>
          </a:prstGeom>
          <a:solidFill>
            <a:schemeClr val="accent3"/>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en-US" sz="800" b="1" dirty="0">
                <a:solidFill>
                  <a:prstClr val="white"/>
                </a:solidFill>
              </a:rPr>
              <a:t>Core Learning Week</a:t>
            </a:r>
          </a:p>
        </p:txBody>
      </p:sp>
      <p:sp>
        <p:nvSpPr>
          <p:cNvPr id="82" name="Rectangle 81"/>
          <p:cNvSpPr/>
          <p:nvPr/>
        </p:nvSpPr>
        <p:spPr bwMode="gray">
          <a:xfrm rot="5400000">
            <a:off x="6997283" y="4441294"/>
            <a:ext cx="324112" cy="854601"/>
          </a:xfrm>
          <a:prstGeom prst="rect">
            <a:avLst/>
          </a:prstGeom>
          <a:solidFill>
            <a:schemeClr val="accent1"/>
          </a:solidFill>
          <a:ln w="19050" algn="ctr">
            <a:noFill/>
            <a:miter lim="800000"/>
            <a:headEnd/>
            <a:tailEnd/>
          </a:ln>
        </p:spPr>
        <p:txBody>
          <a:bodyPr vert="vert270" wrap="square" lIns="88900" tIns="88900" rIns="88900" bIns="88900" rtlCol="0" anchor="ctr"/>
          <a:lstStyle/>
          <a:p>
            <a:pPr algn="ctr">
              <a:lnSpc>
                <a:spcPct val="106000"/>
              </a:lnSpc>
              <a:buFont typeface="Wingdings 2" pitchFamily="18" charset="2"/>
              <a:buNone/>
            </a:pPr>
            <a:r>
              <a:rPr lang="en-US" sz="800" b="1" dirty="0">
                <a:solidFill>
                  <a:prstClr val="white"/>
                </a:solidFill>
              </a:rPr>
              <a:t>Personalized Development</a:t>
            </a:r>
          </a:p>
        </p:txBody>
      </p:sp>
      <p:sp>
        <p:nvSpPr>
          <p:cNvPr id="72" name="Title 2"/>
          <p:cNvSpPr txBox="1">
            <a:spLocks/>
          </p:cNvSpPr>
          <p:nvPr/>
        </p:nvSpPr>
        <p:spPr bwMode="gray">
          <a:xfrm>
            <a:off x="1964525" y="361823"/>
            <a:ext cx="8412480" cy="46949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r>
              <a:rPr lang="en-US" sz="2400" b="1" i="1" dirty="0">
                <a:solidFill>
                  <a:srgbClr val="FF0000"/>
                </a:solidFill>
              </a:rPr>
              <a:t>-Illustrative-</a:t>
            </a:r>
            <a:r>
              <a:rPr lang="en-US" sz="2400" i="1" dirty="0">
                <a:solidFill>
                  <a:srgbClr val="81BC00"/>
                </a:solidFill>
              </a:rPr>
              <a:t> </a:t>
            </a:r>
            <a:r>
              <a:rPr lang="en-US" sz="2400" dirty="0">
                <a:solidFill>
                  <a:srgbClr val="81BC00"/>
                </a:solidFill>
              </a:rPr>
              <a:t>The Learner Experience at Audit Year 4</a:t>
            </a:r>
          </a:p>
        </p:txBody>
      </p:sp>
    </p:spTree>
    <p:extLst>
      <p:ext uri="{BB962C8B-B14F-4D97-AF65-F5344CB8AC3E}">
        <p14:creationId xmlns:p14="http://schemas.microsoft.com/office/powerpoint/2010/main" val="113575177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89760" y="295683"/>
            <a:ext cx="8412480" cy="506012"/>
          </a:xfrm>
        </p:spPr>
        <p:txBody>
          <a:bodyPr vert="horz" lIns="0" tIns="0" rIns="0" bIns="0" rtlCol="0" anchor="t" anchorCtr="0">
            <a:noAutofit/>
          </a:bodyPr>
          <a:lstStyle/>
          <a:p>
            <a:r>
              <a:rPr lang="en-US" dirty="0"/>
              <a:t>Building Core </a:t>
            </a:r>
            <a:r>
              <a:rPr lang="en-US" dirty="0" smtClean="0"/>
              <a:t>Skills</a:t>
            </a:r>
            <a:endParaRPr lang="en-US" dirty="0"/>
          </a:p>
        </p:txBody>
      </p:sp>
      <p:grpSp>
        <p:nvGrpSpPr>
          <p:cNvPr id="73" name="Group 72"/>
          <p:cNvGrpSpPr/>
          <p:nvPr/>
        </p:nvGrpSpPr>
        <p:grpSpPr>
          <a:xfrm>
            <a:off x="9929798" y="102065"/>
            <a:ext cx="548640" cy="548640"/>
            <a:chOff x="3136397" y="1799948"/>
            <a:chExt cx="754756" cy="754756"/>
          </a:xfrm>
        </p:grpSpPr>
        <p:sp>
          <p:nvSpPr>
            <p:cNvPr id="74" name="Oval 73"/>
            <p:cNvSpPr/>
            <p:nvPr/>
          </p:nvSpPr>
          <p:spPr>
            <a:xfrm rot="15256471">
              <a:off x="3136397" y="1799948"/>
              <a:ext cx="754756" cy="754756"/>
            </a:xfrm>
            <a:prstGeom prst="ellipse">
              <a:avLst/>
            </a:prstGeom>
            <a:solidFill>
              <a:srgbClr val="00A1DE"/>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75" name="Freeform 63"/>
            <p:cNvSpPr>
              <a:spLocks noChangeAspect="1"/>
            </p:cNvSpPr>
            <p:nvPr/>
          </p:nvSpPr>
          <p:spPr bwMode="auto">
            <a:xfrm>
              <a:off x="3216958" y="2015624"/>
              <a:ext cx="590642" cy="274320"/>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47" name="Rectangle 46"/>
          <p:cNvSpPr/>
          <p:nvPr/>
        </p:nvSpPr>
        <p:spPr bwMode="gray">
          <a:xfrm>
            <a:off x="1889758" y="2128333"/>
            <a:ext cx="1664520" cy="1884743"/>
          </a:xfrm>
          <a:prstGeom prst="rect">
            <a:avLst/>
          </a:prstGeom>
          <a:noFill/>
          <a:ln w="38100" algn="ctr">
            <a:solidFill>
              <a:schemeClr val="accent2"/>
            </a:solidFill>
            <a:miter lim="800000"/>
            <a:headEnd/>
            <a:tailEnd/>
          </a:ln>
        </p:spPr>
        <p:txBody>
          <a:bodyPr wrap="square" lIns="45720" tIns="91440" rIns="45720" bIns="91440" rtlCol="0" anchor="t" anchorCtr="0"/>
          <a:lstStyle/>
          <a:p>
            <a:pPr marL="0" lvl="1">
              <a:spcAft>
                <a:spcPts val="600"/>
              </a:spcAft>
              <a:buSzPct val="100000"/>
              <a:defRPr/>
            </a:pPr>
            <a:r>
              <a:rPr lang="en-US" sz="1100" dirty="0">
                <a:solidFill>
                  <a:prstClr val="black"/>
                </a:solidFill>
              </a:rPr>
              <a:t>Foundational knowledge learners need before attending the program are communicated along with a recommended roadmap for filling gaps via eLearning courses or reviewing technical</a:t>
            </a:r>
            <a:r>
              <a:rPr lang="fr-FR" sz="1100" dirty="0">
                <a:solidFill>
                  <a:prstClr val="black"/>
                </a:solidFill>
              </a:rPr>
              <a:t> guidance/practice aïds.</a:t>
            </a:r>
            <a:endParaRPr lang="en-US" sz="1100" dirty="0">
              <a:solidFill>
                <a:prstClr val="black"/>
              </a:solidFill>
            </a:endParaRPr>
          </a:p>
        </p:txBody>
      </p:sp>
      <p:sp>
        <p:nvSpPr>
          <p:cNvPr id="48" name="Rectangle 47"/>
          <p:cNvSpPr/>
          <p:nvPr/>
        </p:nvSpPr>
        <p:spPr bwMode="gray">
          <a:xfrm>
            <a:off x="1889757" y="1825181"/>
            <a:ext cx="1664520" cy="188379"/>
          </a:xfrm>
          <a:prstGeom prst="rect">
            <a:avLst/>
          </a:prstGeom>
          <a:solidFill>
            <a:schemeClr val="accent2"/>
          </a:solidFill>
          <a:ln w="38100" algn="ctr">
            <a:solidFill>
              <a:schemeClr val="accent2"/>
            </a:solidFill>
            <a:miter lim="800000"/>
            <a:headEnd/>
            <a:tailEnd/>
          </a:ln>
        </p:spPr>
        <p:txBody>
          <a:bodyPr wrap="square" lIns="88900" tIns="88900" rIns="88900" bIns="88900" rtlCol="0" anchor="ctr" anchorCtr="0"/>
          <a:lstStyle/>
          <a:p>
            <a:pPr marL="0" lvl="1" algn="ctr">
              <a:lnSpc>
                <a:spcPct val="106000"/>
              </a:lnSpc>
            </a:pPr>
            <a:r>
              <a:rPr lang="en-US" sz="1100" b="1" dirty="0">
                <a:solidFill>
                  <a:prstClr val="white"/>
                </a:solidFill>
              </a:rPr>
              <a:t>Pre-Requisites</a:t>
            </a:r>
          </a:p>
        </p:txBody>
      </p:sp>
      <p:sp>
        <p:nvSpPr>
          <p:cNvPr id="49" name="Rectangle 48"/>
          <p:cNvSpPr/>
          <p:nvPr/>
        </p:nvSpPr>
        <p:spPr bwMode="gray">
          <a:xfrm>
            <a:off x="8548355" y="2127098"/>
            <a:ext cx="1664520" cy="1885977"/>
          </a:xfrm>
          <a:prstGeom prst="rect">
            <a:avLst/>
          </a:prstGeom>
          <a:noFill/>
          <a:ln w="38100" algn="ctr">
            <a:solidFill>
              <a:schemeClr val="bg2"/>
            </a:solidFill>
            <a:miter lim="800000"/>
            <a:headEnd/>
            <a:tailEnd/>
          </a:ln>
        </p:spPr>
        <p:txBody>
          <a:bodyPr wrap="square" lIns="88900" tIns="91440" rIns="88900" bIns="88900" rtlCol="0" anchor="t" anchorCtr="0"/>
          <a:lstStyle/>
          <a:p>
            <a:pPr>
              <a:spcAft>
                <a:spcPts val="600"/>
              </a:spcAft>
            </a:pPr>
            <a:r>
              <a:rPr lang="en-US" sz="1100" dirty="0">
                <a:solidFill>
                  <a:srgbClr val="313131"/>
                </a:solidFill>
              </a:rPr>
              <a:t>At the end of the program an individual learning plan is updated.</a:t>
            </a:r>
          </a:p>
          <a:p>
            <a:pPr>
              <a:spcAft>
                <a:spcPts val="600"/>
              </a:spcAft>
            </a:pPr>
            <a:r>
              <a:rPr lang="en-US" sz="1100" dirty="0">
                <a:solidFill>
                  <a:srgbClr val="313131"/>
                </a:solidFill>
              </a:rPr>
              <a:t>Throughout the year, learners continue to develop in areas covered during the learning week. </a:t>
            </a:r>
          </a:p>
        </p:txBody>
      </p:sp>
      <p:sp>
        <p:nvSpPr>
          <p:cNvPr id="50" name="Rectangle 49"/>
          <p:cNvSpPr/>
          <p:nvPr/>
        </p:nvSpPr>
        <p:spPr bwMode="gray">
          <a:xfrm>
            <a:off x="3710297" y="1819457"/>
            <a:ext cx="4682038" cy="195850"/>
          </a:xfrm>
          <a:prstGeom prst="rect">
            <a:avLst/>
          </a:prstGeom>
          <a:solidFill>
            <a:schemeClr val="accent1"/>
          </a:solidFill>
          <a:ln w="38100" algn="ctr">
            <a:solidFill>
              <a:schemeClr val="accent1"/>
            </a:solidFill>
            <a:miter lim="800000"/>
            <a:headEnd/>
            <a:tailEnd/>
          </a:ln>
        </p:spPr>
        <p:txBody>
          <a:bodyPr wrap="square" lIns="88900" tIns="88900" rIns="88900" bIns="88900" rtlCol="0" anchor="ctr" anchorCtr="0"/>
          <a:lstStyle/>
          <a:p>
            <a:pPr marL="0" lvl="1" algn="ctr">
              <a:lnSpc>
                <a:spcPct val="106000"/>
              </a:lnSpc>
            </a:pPr>
            <a:r>
              <a:rPr lang="en-US" sz="1100" b="1" dirty="0">
                <a:solidFill>
                  <a:prstClr val="white"/>
                </a:solidFill>
              </a:rPr>
              <a:t>Regional/DU Core Learning Week</a:t>
            </a:r>
          </a:p>
        </p:txBody>
      </p:sp>
      <p:sp>
        <p:nvSpPr>
          <p:cNvPr id="51" name="Rectangle 50"/>
          <p:cNvSpPr/>
          <p:nvPr/>
        </p:nvSpPr>
        <p:spPr bwMode="gray">
          <a:xfrm>
            <a:off x="8548354" y="1819433"/>
            <a:ext cx="1664520" cy="192920"/>
          </a:xfrm>
          <a:prstGeom prst="rect">
            <a:avLst/>
          </a:prstGeom>
          <a:solidFill>
            <a:schemeClr val="bg2"/>
          </a:solidFill>
          <a:ln w="38100" algn="ctr">
            <a:solidFill>
              <a:schemeClr val="bg2"/>
            </a:solidFill>
            <a:miter lim="800000"/>
            <a:headEnd/>
            <a:tailEnd/>
          </a:ln>
        </p:spPr>
        <p:txBody>
          <a:bodyPr wrap="square" lIns="88900" tIns="88900" rIns="88900" bIns="88900" rtlCol="0" anchor="ctr" anchorCtr="0"/>
          <a:lstStyle/>
          <a:p>
            <a:pPr marL="0" lvl="1" algn="ctr">
              <a:lnSpc>
                <a:spcPct val="106000"/>
              </a:lnSpc>
            </a:pPr>
            <a:r>
              <a:rPr lang="en-US" sz="1100" b="1" dirty="0">
                <a:solidFill>
                  <a:prstClr val="white"/>
                </a:solidFill>
              </a:rPr>
              <a:t>Follow-Up Learning</a:t>
            </a:r>
          </a:p>
        </p:txBody>
      </p:sp>
      <p:grpSp>
        <p:nvGrpSpPr>
          <p:cNvPr id="52" name="Group 51"/>
          <p:cNvGrpSpPr/>
          <p:nvPr/>
        </p:nvGrpSpPr>
        <p:grpSpPr>
          <a:xfrm>
            <a:off x="2246805" y="1547883"/>
            <a:ext cx="7698390" cy="184666"/>
            <a:chOff x="722804" y="2087422"/>
            <a:chExt cx="7698390" cy="184666"/>
          </a:xfrm>
        </p:grpSpPr>
        <p:cxnSp>
          <p:nvCxnSpPr>
            <p:cNvPr id="53" name="Straight Connector 52"/>
            <p:cNvCxnSpPr/>
            <p:nvPr/>
          </p:nvCxnSpPr>
          <p:spPr>
            <a:xfrm>
              <a:off x="722804" y="2179755"/>
              <a:ext cx="76983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603172" y="2087422"/>
              <a:ext cx="1937658" cy="184666"/>
            </a:xfrm>
            <a:prstGeom prst="rect">
              <a:avLst/>
            </a:prstGeom>
            <a:solidFill>
              <a:schemeClr val="bg1"/>
            </a:solidFill>
          </p:spPr>
          <p:txBody>
            <a:bodyPr wrap="square" lIns="0" tIns="0" rIns="0" bIns="0" rtlCol="0">
              <a:spAutoFit/>
            </a:bodyPr>
            <a:lstStyle/>
            <a:p>
              <a:pPr algn="ctr">
                <a:spcBef>
                  <a:spcPts val="1200"/>
                </a:spcBef>
                <a:buSzPct val="25000"/>
              </a:pPr>
              <a:r>
                <a:rPr lang="en-US" sz="1200" b="1" dirty="0">
                  <a:solidFill>
                    <a:srgbClr val="002776"/>
                  </a:solidFill>
                </a:rPr>
                <a:t>What It Could Look Like</a:t>
              </a:r>
            </a:p>
          </p:txBody>
        </p:sp>
      </p:grpSp>
      <p:sp>
        <p:nvSpPr>
          <p:cNvPr id="55" name="Rectangle 54"/>
          <p:cNvSpPr/>
          <p:nvPr/>
        </p:nvSpPr>
        <p:spPr bwMode="gray">
          <a:xfrm>
            <a:off x="3710297" y="2127098"/>
            <a:ext cx="4682038" cy="1885978"/>
          </a:xfrm>
          <a:prstGeom prst="rect">
            <a:avLst/>
          </a:prstGeom>
          <a:noFill/>
          <a:ln w="38100" algn="ctr">
            <a:solidFill>
              <a:schemeClr val="accent1"/>
            </a:solidFill>
            <a:miter lim="800000"/>
            <a:headEnd/>
            <a:tailEnd/>
          </a:ln>
        </p:spPr>
        <p:txBody>
          <a:bodyPr wrap="square" lIns="91440" tIns="91440" rIns="91440" bIns="91440" rtlCol="0" anchor="t" anchorCtr="0"/>
          <a:lstStyle/>
          <a:p>
            <a:pPr marL="914400" lvl="3">
              <a:spcBef>
                <a:spcPts val="400"/>
              </a:spcBef>
              <a:spcAft>
                <a:spcPts val="600"/>
              </a:spcAft>
              <a:buSzPct val="100000"/>
              <a:defRPr/>
            </a:pPr>
            <a:endParaRPr lang="en-US" sz="1100" dirty="0">
              <a:solidFill>
                <a:prstClr val="black"/>
              </a:solidFill>
            </a:endParaRPr>
          </a:p>
        </p:txBody>
      </p:sp>
      <p:sp>
        <p:nvSpPr>
          <p:cNvPr id="72" name="Rectangle 71"/>
          <p:cNvSpPr/>
          <p:nvPr/>
        </p:nvSpPr>
        <p:spPr>
          <a:xfrm>
            <a:off x="6646506" y="2363327"/>
            <a:ext cx="1745829" cy="110799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en-US" sz="1100" b="1" dirty="0">
                <a:solidFill>
                  <a:schemeClr val="tx2"/>
                </a:solidFill>
              </a:rPr>
              <a:t>Advanced Professional Skills: </a:t>
            </a:r>
            <a:r>
              <a:rPr lang="en-US" sz="1100" dirty="0">
                <a:solidFill>
                  <a:schemeClr val="tx2"/>
                </a:solidFill>
              </a:rPr>
              <a:t>Critical skills for managing engagements and relationships can be developed in the context of technical topics</a:t>
            </a:r>
          </a:p>
        </p:txBody>
      </p:sp>
      <p:sp>
        <p:nvSpPr>
          <p:cNvPr id="77" name="Rectangle 76"/>
          <p:cNvSpPr/>
          <p:nvPr/>
        </p:nvSpPr>
        <p:spPr>
          <a:xfrm>
            <a:off x="3710296" y="2477467"/>
            <a:ext cx="1672260" cy="110799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en-US" sz="1100" b="1" dirty="0">
                <a:solidFill>
                  <a:schemeClr val="tx2"/>
                </a:solidFill>
              </a:rPr>
              <a:t>How to Apply Technical Knowledge: </a:t>
            </a:r>
            <a:r>
              <a:rPr lang="en-US" sz="1100" dirty="0">
                <a:solidFill>
                  <a:schemeClr val="tx2"/>
                </a:solidFill>
              </a:rPr>
              <a:t>The primary focus will be on on-the-job application of technical concepts</a:t>
            </a:r>
          </a:p>
        </p:txBody>
      </p:sp>
      <p:grpSp>
        <p:nvGrpSpPr>
          <p:cNvPr id="78" name="Group 77"/>
          <p:cNvGrpSpPr/>
          <p:nvPr/>
        </p:nvGrpSpPr>
        <p:grpSpPr>
          <a:xfrm>
            <a:off x="4708964" y="2187051"/>
            <a:ext cx="2692314" cy="161583"/>
            <a:chOff x="1918464" y="1798951"/>
            <a:chExt cx="1828800" cy="161583"/>
          </a:xfrm>
        </p:grpSpPr>
        <p:cxnSp>
          <p:nvCxnSpPr>
            <p:cNvPr id="79" name="Straight Arrow Connector 78"/>
            <p:cNvCxnSpPr/>
            <p:nvPr/>
          </p:nvCxnSpPr>
          <p:spPr>
            <a:xfrm>
              <a:off x="1918464" y="1894437"/>
              <a:ext cx="1828800" cy="0"/>
            </a:xfrm>
            <a:prstGeom prst="straightConnector1">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TextBox 52"/>
            <p:cNvSpPr txBox="1"/>
            <p:nvPr/>
          </p:nvSpPr>
          <p:spPr>
            <a:xfrm>
              <a:off x="2354200" y="1798951"/>
              <a:ext cx="957332" cy="161583"/>
            </a:xfrm>
            <a:prstGeom prst="rect">
              <a:avLst/>
            </a:prstGeom>
            <a:solidFill>
              <a:schemeClr val="bg1"/>
            </a:solidFill>
          </p:spPr>
          <p:txBody>
            <a:bodyPr wrap="none" lIns="91440" tIns="0" rIns="9144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1200"/>
                </a:spcBef>
                <a:buSzPct val="25000"/>
              </a:pPr>
              <a:r>
                <a:rPr lang="en-US" sz="1050" b="1" i="1" dirty="0">
                  <a:solidFill>
                    <a:schemeClr val="tx2"/>
                  </a:solidFill>
                </a:rPr>
                <a:t>Focus of the Week</a:t>
              </a:r>
              <a:endParaRPr lang="en-US" sz="1050" i="1" dirty="0">
                <a:solidFill>
                  <a:schemeClr val="tx2"/>
                </a:solidFill>
              </a:endParaRPr>
            </a:p>
          </p:txBody>
        </p:sp>
      </p:grpSp>
      <p:pic>
        <p:nvPicPr>
          <p:cNvPr id="81" name="Picture 80"/>
          <p:cNvPicPr>
            <a:picLocks noChangeAspect="1"/>
          </p:cNvPicPr>
          <p:nvPr/>
        </p:nvPicPr>
        <p:blipFill>
          <a:blip r:embed="rId2"/>
          <a:stretch>
            <a:fillRect/>
          </a:stretch>
        </p:blipFill>
        <p:spPr>
          <a:xfrm rot="11276171">
            <a:off x="5225524" y="2340492"/>
            <a:ext cx="1534659" cy="1024128"/>
          </a:xfrm>
          <a:prstGeom prst="rect">
            <a:avLst/>
          </a:prstGeom>
        </p:spPr>
      </p:pic>
      <p:sp>
        <p:nvSpPr>
          <p:cNvPr id="83" name="Rectangle 82"/>
          <p:cNvSpPr/>
          <p:nvPr/>
        </p:nvSpPr>
        <p:spPr>
          <a:xfrm>
            <a:off x="4463144" y="3544870"/>
            <a:ext cx="3452326" cy="4308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300"/>
              </a:spcAft>
            </a:pPr>
            <a:r>
              <a:rPr lang="en-US" sz="1100" b="1" dirty="0">
                <a:solidFill>
                  <a:schemeClr val="tx2"/>
                </a:solidFill>
              </a:rPr>
              <a:t>Leader Development: </a:t>
            </a:r>
            <a:r>
              <a:rPr lang="en-US" sz="1100" dirty="0">
                <a:solidFill>
                  <a:schemeClr val="tx2"/>
                </a:solidFill>
              </a:rPr>
              <a:t>Skills such as coaching and team/client leadership are integrated into the week.</a:t>
            </a:r>
          </a:p>
        </p:txBody>
      </p:sp>
      <p:sp>
        <p:nvSpPr>
          <p:cNvPr id="84" name="Freeform 83"/>
          <p:cNvSpPr/>
          <p:nvPr/>
        </p:nvSpPr>
        <p:spPr bwMode="gray">
          <a:xfrm rot="13811721" flipH="1">
            <a:off x="6577763" y="2494530"/>
            <a:ext cx="45719" cy="331315"/>
          </a:xfrm>
          <a:custGeom>
            <a:avLst/>
            <a:gdLst>
              <a:gd name="connsiteX0" fmla="*/ 181140 w 375694"/>
              <a:gd name="connsiteY0" fmla="*/ 787940 h 787940"/>
              <a:gd name="connsiteX1" fmla="*/ 6043 w 375694"/>
              <a:gd name="connsiteY1" fmla="*/ 340468 h 787940"/>
              <a:gd name="connsiteX2" fmla="*/ 375694 w 375694"/>
              <a:gd name="connsiteY2" fmla="*/ 0 h 787940"/>
              <a:gd name="connsiteX3" fmla="*/ 375694 w 375694"/>
              <a:gd name="connsiteY3" fmla="*/ 0 h 787940"/>
            </a:gdLst>
            <a:ahLst/>
            <a:cxnLst>
              <a:cxn ang="0">
                <a:pos x="connsiteX0" y="connsiteY0"/>
              </a:cxn>
              <a:cxn ang="0">
                <a:pos x="connsiteX1" y="connsiteY1"/>
              </a:cxn>
              <a:cxn ang="0">
                <a:pos x="connsiteX2" y="connsiteY2"/>
              </a:cxn>
              <a:cxn ang="0">
                <a:pos x="connsiteX3" y="connsiteY3"/>
              </a:cxn>
            </a:cxnLst>
            <a:rect l="l" t="t" r="r" b="b"/>
            <a:pathLst>
              <a:path w="375694" h="787940">
                <a:moveTo>
                  <a:pt x="181140" y="787940"/>
                </a:moveTo>
                <a:cubicBezTo>
                  <a:pt x="77378" y="629865"/>
                  <a:pt x="-26383" y="471791"/>
                  <a:pt x="6043" y="340468"/>
                </a:cubicBezTo>
                <a:cubicBezTo>
                  <a:pt x="38469" y="209145"/>
                  <a:pt x="375694" y="0"/>
                  <a:pt x="375694" y="0"/>
                </a:cubicBezTo>
                <a:lnTo>
                  <a:pt x="375694" y="0"/>
                </a:lnTo>
              </a:path>
            </a:pathLst>
          </a:custGeom>
          <a:noFill/>
          <a:ln w="28575" algn="ctr">
            <a:solidFill>
              <a:schemeClr val="accent3"/>
            </a:solidFill>
            <a:miter lim="800000"/>
            <a:headEnd/>
            <a:tailEnd type="arrow"/>
          </a:ln>
        </p:spPr>
        <p:txBody>
          <a:bodyPr rtlCol="0" anchor="ctr"/>
          <a:lstStyle/>
          <a:p>
            <a:pPr algn="ctr"/>
            <a:endParaRPr lang="en-US">
              <a:solidFill>
                <a:prstClr val="black"/>
              </a:solidFill>
            </a:endParaRPr>
          </a:p>
        </p:txBody>
      </p:sp>
      <p:sp>
        <p:nvSpPr>
          <p:cNvPr id="85" name="Freeform 84"/>
          <p:cNvSpPr/>
          <p:nvPr/>
        </p:nvSpPr>
        <p:spPr bwMode="gray">
          <a:xfrm rot="5551023">
            <a:off x="5199694" y="2361022"/>
            <a:ext cx="85334" cy="469123"/>
          </a:xfrm>
          <a:custGeom>
            <a:avLst/>
            <a:gdLst>
              <a:gd name="connsiteX0" fmla="*/ 181140 w 375694"/>
              <a:gd name="connsiteY0" fmla="*/ 787940 h 787940"/>
              <a:gd name="connsiteX1" fmla="*/ 6043 w 375694"/>
              <a:gd name="connsiteY1" fmla="*/ 340468 h 787940"/>
              <a:gd name="connsiteX2" fmla="*/ 375694 w 375694"/>
              <a:gd name="connsiteY2" fmla="*/ 0 h 787940"/>
              <a:gd name="connsiteX3" fmla="*/ 375694 w 375694"/>
              <a:gd name="connsiteY3" fmla="*/ 0 h 787940"/>
            </a:gdLst>
            <a:ahLst/>
            <a:cxnLst>
              <a:cxn ang="0">
                <a:pos x="connsiteX0" y="connsiteY0"/>
              </a:cxn>
              <a:cxn ang="0">
                <a:pos x="connsiteX1" y="connsiteY1"/>
              </a:cxn>
              <a:cxn ang="0">
                <a:pos x="connsiteX2" y="connsiteY2"/>
              </a:cxn>
              <a:cxn ang="0">
                <a:pos x="connsiteX3" y="connsiteY3"/>
              </a:cxn>
            </a:cxnLst>
            <a:rect l="l" t="t" r="r" b="b"/>
            <a:pathLst>
              <a:path w="375694" h="787940">
                <a:moveTo>
                  <a:pt x="181140" y="787940"/>
                </a:moveTo>
                <a:cubicBezTo>
                  <a:pt x="77378" y="629865"/>
                  <a:pt x="-26383" y="471791"/>
                  <a:pt x="6043" y="340468"/>
                </a:cubicBezTo>
                <a:cubicBezTo>
                  <a:pt x="38469" y="209145"/>
                  <a:pt x="375694" y="0"/>
                  <a:pt x="375694" y="0"/>
                </a:cubicBezTo>
                <a:lnTo>
                  <a:pt x="375694" y="0"/>
                </a:lnTo>
              </a:path>
            </a:pathLst>
          </a:custGeom>
          <a:noFill/>
          <a:ln w="28575" algn="ctr">
            <a:solidFill>
              <a:schemeClr val="accent1"/>
            </a:solidFill>
            <a:miter lim="800000"/>
            <a:headEnd/>
            <a:tailEnd type="arrow"/>
          </a:ln>
        </p:spPr>
        <p:txBody>
          <a:bodyPr rtlCol="0" anchor="ctr"/>
          <a:lstStyle/>
          <a:p>
            <a:pPr algn="ctr"/>
            <a:endParaRPr lang="en-US">
              <a:solidFill>
                <a:prstClr val="black"/>
              </a:solidFill>
            </a:endParaRPr>
          </a:p>
        </p:txBody>
      </p:sp>
      <p:sp>
        <p:nvSpPr>
          <p:cNvPr id="86" name="Freeform 85"/>
          <p:cNvSpPr/>
          <p:nvPr/>
        </p:nvSpPr>
        <p:spPr bwMode="gray">
          <a:xfrm rot="3434351" flipH="1">
            <a:off x="5870257" y="3310923"/>
            <a:ext cx="100624" cy="346798"/>
          </a:xfrm>
          <a:custGeom>
            <a:avLst/>
            <a:gdLst>
              <a:gd name="connsiteX0" fmla="*/ 181140 w 375694"/>
              <a:gd name="connsiteY0" fmla="*/ 787940 h 787940"/>
              <a:gd name="connsiteX1" fmla="*/ 6043 w 375694"/>
              <a:gd name="connsiteY1" fmla="*/ 340468 h 787940"/>
              <a:gd name="connsiteX2" fmla="*/ 375694 w 375694"/>
              <a:gd name="connsiteY2" fmla="*/ 0 h 787940"/>
              <a:gd name="connsiteX3" fmla="*/ 375694 w 375694"/>
              <a:gd name="connsiteY3" fmla="*/ 0 h 787940"/>
            </a:gdLst>
            <a:ahLst/>
            <a:cxnLst>
              <a:cxn ang="0">
                <a:pos x="connsiteX0" y="connsiteY0"/>
              </a:cxn>
              <a:cxn ang="0">
                <a:pos x="connsiteX1" y="connsiteY1"/>
              </a:cxn>
              <a:cxn ang="0">
                <a:pos x="connsiteX2" y="connsiteY2"/>
              </a:cxn>
              <a:cxn ang="0">
                <a:pos x="connsiteX3" y="connsiteY3"/>
              </a:cxn>
            </a:cxnLst>
            <a:rect l="l" t="t" r="r" b="b"/>
            <a:pathLst>
              <a:path w="375694" h="787940">
                <a:moveTo>
                  <a:pt x="181140" y="787940"/>
                </a:moveTo>
                <a:cubicBezTo>
                  <a:pt x="77378" y="629865"/>
                  <a:pt x="-26383" y="471791"/>
                  <a:pt x="6043" y="340468"/>
                </a:cubicBezTo>
                <a:cubicBezTo>
                  <a:pt x="38469" y="209145"/>
                  <a:pt x="375694" y="0"/>
                  <a:pt x="375694" y="0"/>
                </a:cubicBezTo>
                <a:lnTo>
                  <a:pt x="375694" y="0"/>
                </a:lnTo>
              </a:path>
            </a:pathLst>
          </a:custGeom>
          <a:noFill/>
          <a:ln w="28575" algn="ctr">
            <a:solidFill>
              <a:schemeClr val="accent5"/>
            </a:solidFill>
            <a:miter lim="800000"/>
            <a:headEnd/>
            <a:tailEnd type="arrow"/>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prstClr val="black"/>
              </a:solidFill>
            </a:endParaRPr>
          </a:p>
        </p:txBody>
      </p:sp>
      <p:sp>
        <p:nvSpPr>
          <p:cNvPr id="4" name="TextBox 3"/>
          <p:cNvSpPr txBox="1"/>
          <p:nvPr/>
        </p:nvSpPr>
        <p:spPr>
          <a:xfrm>
            <a:off x="8548355" y="5011271"/>
            <a:ext cx="1396841" cy="553998"/>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dirty="0">
                <a:solidFill>
                  <a:schemeClr val="tx2"/>
                </a:solidFill>
              </a:rPr>
              <a:t>New CPE Standards</a:t>
            </a:r>
          </a:p>
        </p:txBody>
      </p:sp>
      <p:sp>
        <p:nvSpPr>
          <p:cNvPr id="5" name="5-Point Star 4"/>
          <p:cNvSpPr/>
          <p:nvPr/>
        </p:nvSpPr>
        <p:spPr bwMode="gray">
          <a:xfrm>
            <a:off x="7754471" y="4885764"/>
            <a:ext cx="699247" cy="788894"/>
          </a:xfrm>
          <a:prstGeom prst="star5">
            <a:avLst/>
          </a:prstGeom>
          <a:solidFill>
            <a:srgbClr val="FFC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5944930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89760" y="295683"/>
            <a:ext cx="8412480" cy="506012"/>
          </a:xfrm>
        </p:spPr>
        <p:txBody>
          <a:bodyPr vert="horz" lIns="0" tIns="0" rIns="0" bIns="0" rtlCol="0" anchor="t" anchorCtr="0">
            <a:noAutofit/>
          </a:bodyPr>
          <a:lstStyle/>
          <a:p>
            <a:r>
              <a:rPr lang="en-US" dirty="0"/>
              <a:t>Supporting </a:t>
            </a:r>
            <a:r>
              <a:rPr lang="en-US" dirty="0" smtClean="0"/>
              <a:t>On-the-Job </a:t>
            </a:r>
            <a:r>
              <a:rPr lang="en-US" dirty="0"/>
              <a:t>Performance</a:t>
            </a:r>
          </a:p>
        </p:txBody>
      </p:sp>
      <p:sp>
        <p:nvSpPr>
          <p:cNvPr id="8" name="Rectangle 7"/>
          <p:cNvSpPr/>
          <p:nvPr/>
        </p:nvSpPr>
        <p:spPr bwMode="gray">
          <a:xfrm>
            <a:off x="1889759" y="873117"/>
            <a:ext cx="8323116" cy="2516819"/>
          </a:xfrm>
          <a:prstGeom prst="rect">
            <a:avLst/>
          </a:prstGeom>
          <a:noFill/>
          <a:ln w="38100" algn="ctr">
            <a:solidFill>
              <a:schemeClr val="accent3"/>
            </a:solidFill>
            <a:miter lim="800000"/>
            <a:headEnd/>
            <a:tailEnd/>
          </a:ln>
        </p:spPr>
        <p:txBody>
          <a:bodyPr wrap="square" lIns="88900" tIns="91440" rIns="88900" bIns="88900" rtlCol="0" anchor="t" anchorCtr="0"/>
          <a:lstStyle/>
          <a:p>
            <a:pPr marL="60325" algn="ctr">
              <a:spcAft>
                <a:spcPts val="300"/>
              </a:spcAft>
            </a:pPr>
            <a:r>
              <a:rPr lang="en-US" sz="1400" b="1" dirty="0">
                <a:solidFill>
                  <a:schemeClr val="accent3"/>
                </a:solidFill>
              </a:rPr>
              <a:t>Design Parameters for Just-In-Time “Flash” Learning</a:t>
            </a:r>
          </a:p>
        </p:txBody>
      </p:sp>
      <p:sp>
        <p:nvSpPr>
          <p:cNvPr id="36" name="Rectangle 35"/>
          <p:cNvSpPr/>
          <p:nvPr/>
        </p:nvSpPr>
        <p:spPr bwMode="gray">
          <a:xfrm>
            <a:off x="2003002" y="1273263"/>
            <a:ext cx="1547471" cy="64586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Structure</a:t>
            </a:r>
            <a:endParaRPr lang="en-US" sz="1400" b="1" i="1" dirty="0">
              <a:solidFill>
                <a:prstClr val="white"/>
              </a:solidFill>
            </a:endParaRPr>
          </a:p>
        </p:txBody>
      </p:sp>
      <p:sp>
        <p:nvSpPr>
          <p:cNvPr id="38" name="TextBox 37"/>
          <p:cNvSpPr txBox="1"/>
          <p:nvPr/>
        </p:nvSpPr>
        <p:spPr bwMode="gray">
          <a:xfrm>
            <a:off x="3619131" y="1273263"/>
            <a:ext cx="6525087" cy="645862"/>
          </a:xfrm>
          <a:prstGeom prst="rect">
            <a:avLst/>
          </a:prstGeom>
          <a:noFill/>
        </p:spPr>
        <p:txBody>
          <a:bodyPr vert="horz" wrap="square" lIns="0" tIns="0" rIns="0" bIns="0" rtlCol="0" anchor="ctr">
            <a:noAutofit/>
          </a:bodyPr>
          <a:lstStyle/>
          <a:p>
            <a:pPr marL="171450"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A self-service platform providing varying levels of detail to meet learners’ specific needs and </a:t>
            </a:r>
            <a:r>
              <a:rPr lang="en-US" sz="1100" dirty="0">
                <a:solidFill>
                  <a:srgbClr val="313131"/>
                </a:solidFill>
              </a:rPr>
              <a:t>generating learning pathways depending on a learner’s level or industry</a:t>
            </a:r>
          </a:p>
        </p:txBody>
      </p:sp>
      <p:sp>
        <p:nvSpPr>
          <p:cNvPr id="40" name="Rectangle 39"/>
          <p:cNvSpPr/>
          <p:nvPr/>
        </p:nvSpPr>
        <p:spPr bwMode="gray">
          <a:xfrm>
            <a:off x="2003002" y="2002227"/>
            <a:ext cx="1547471" cy="58557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Content</a:t>
            </a:r>
            <a:endParaRPr lang="en-US" sz="1400" b="1" i="1" dirty="0">
              <a:solidFill>
                <a:prstClr val="white"/>
              </a:solidFill>
            </a:endParaRPr>
          </a:p>
        </p:txBody>
      </p:sp>
      <p:sp>
        <p:nvSpPr>
          <p:cNvPr id="43" name="TextBox 42"/>
          <p:cNvSpPr txBox="1"/>
          <p:nvPr/>
        </p:nvSpPr>
        <p:spPr bwMode="gray">
          <a:xfrm>
            <a:off x="3619131" y="1984297"/>
            <a:ext cx="6525087" cy="645862"/>
          </a:xfrm>
          <a:prstGeom prst="rect">
            <a:avLst/>
          </a:prstGeom>
          <a:noFill/>
        </p:spPr>
        <p:txBody>
          <a:bodyPr vert="horz" wrap="square" lIns="0" tIns="0" rIns="0" bIns="0" rtlCol="0" anchor="ctr">
            <a:noAutofit/>
          </a:bodyPr>
          <a:lstStyle>
            <a:defPPr>
              <a:defRPr lang="en-US"/>
            </a:defPPr>
            <a:lvl1pPr marL="171450" indent="-171450">
              <a:spcAft>
                <a:spcPts val="300"/>
              </a:spcAft>
              <a:buClr>
                <a:srgbClr val="000000"/>
              </a:buClr>
              <a:buSzPct val="100000"/>
              <a:buFont typeface="Arial" panose="020B0604020202020204" pitchFamily="34" charset="0"/>
              <a:buChar char="•"/>
              <a:defRPr sz="1100">
                <a:solidFill>
                  <a:schemeClr val="tx2"/>
                </a:solidFill>
                <a:cs typeface="Arial" charset="0"/>
              </a:defRPr>
            </a:lvl1pPr>
            <a:lvl2pPr marL="171450" lvl="1" indent="-171450">
              <a:spcAft>
                <a:spcPts val="300"/>
              </a:spcAft>
              <a:buClr>
                <a:srgbClr val="000000"/>
              </a:buClr>
              <a:buSzPct val="100000"/>
              <a:buFont typeface="Arial" panose="020B0604020202020204" pitchFamily="34" charset="0"/>
              <a:buChar char="•"/>
              <a:defRPr sz="1100">
                <a:solidFill>
                  <a:srgbClr val="313131"/>
                </a:solidFill>
              </a:defRPr>
            </a:lvl2pPr>
          </a:lstStyle>
          <a:p>
            <a:pPr lvl="1"/>
            <a:r>
              <a:rPr lang="en-US" dirty="0"/>
              <a:t>Level-specific content will build on Learning Weeks to sustain learning on high-priority topic areas needed to perform and audit</a:t>
            </a:r>
          </a:p>
        </p:txBody>
      </p:sp>
      <p:sp>
        <p:nvSpPr>
          <p:cNvPr id="45" name="Rectangle 44"/>
          <p:cNvSpPr/>
          <p:nvPr/>
        </p:nvSpPr>
        <p:spPr bwMode="gray">
          <a:xfrm>
            <a:off x="2003002" y="2695330"/>
            <a:ext cx="1547471" cy="5771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Learner Experience</a:t>
            </a:r>
            <a:endParaRPr lang="en-US" sz="1400" b="1" i="1" dirty="0">
              <a:solidFill>
                <a:prstClr val="white"/>
              </a:solidFill>
            </a:endParaRPr>
          </a:p>
        </p:txBody>
      </p:sp>
      <p:sp>
        <p:nvSpPr>
          <p:cNvPr id="46" name="TextBox 45"/>
          <p:cNvSpPr txBox="1"/>
          <p:nvPr/>
        </p:nvSpPr>
        <p:spPr bwMode="gray">
          <a:xfrm>
            <a:off x="3619131" y="2695330"/>
            <a:ext cx="6525087" cy="566788"/>
          </a:xfrm>
          <a:prstGeom prst="rect">
            <a:avLst/>
          </a:prstGeom>
          <a:noFill/>
        </p:spPr>
        <p:txBody>
          <a:bodyPr vert="horz" wrap="square" lIns="0" tIns="0" rIns="0" bIns="0" rtlCol="0" anchor="ctr">
            <a:noAutofit/>
          </a:bodyPr>
          <a:lstStyle>
            <a:defPPr>
              <a:defRPr lang="en-US"/>
            </a:defPPr>
            <a:lvl1pPr marL="171450" indent="-171450">
              <a:spcAft>
                <a:spcPts val="300"/>
              </a:spcAft>
              <a:buClr>
                <a:srgbClr val="000000"/>
              </a:buClr>
              <a:buSzPct val="100000"/>
              <a:buFont typeface="Arial" panose="020B0604020202020204" pitchFamily="34" charset="0"/>
              <a:buChar char="•"/>
              <a:defRPr sz="1100">
                <a:solidFill>
                  <a:schemeClr val="tx2"/>
                </a:solidFill>
                <a:cs typeface="Arial" charset="0"/>
              </a:defRPr>
            </a:lvl1pPr>
            <a:lvl2pPr marL="171450" lvl="1" indent="-171450">
              <a:spcAft>
                <a:spcPts val="300"/>
              </a:spcAft>
              <a:buClr>
                <a:srgbClr val="000000"/>
              </a:buClr>
              <a:buSzPct val="100000"/>
              <a:buFont typeface="Arial" panose="020B0604020202020204" pitchFamily="34" charset="0"/>
              <a:buChar char="•"/>
              <a:defRPr sz="1100">
                <a:solidFill>
                  <a:srgbClr val="313131"/>
                </a:solidFill>
              </a:defRPr>
            </a:lvl2pPr>
          </a:lstStyle>
          <a:p>
            <a:pPr lvl="1"/>
            <a:r>
              <a:rPr lang="en-US" dirty="0"/>
              <a:t>Learning pathways would be organized by topical area, sequenced out over the course of the audit year, and comprised of relevant content from a larger portfolio </a:t>
            </a:r>
          </a:p>
        </p:txBody>
      </p:sp>
      <p:grpSp>
        <p:nvGrpSpPr>
          <p:cNvPr id="52" name="Group 51"/>
          <p:cNvGrpSpPr/>
          <p:nvPr/>
        </p:nvGrpSpPr>
        <p:grpSpPr>
          <a:xfrm>
            <a:off x="2246805" y="3439441"/>
            <a:ext cx="7698390" cy="184666"/>
            <a:chOff x="722804" y="2087422"/>
            <a:chExt cx="7698390" cy="184666"/>
          </a:xfrm>
        </p:grpSpPr>
        <p:cxnSp>
          <p:nvCxnSpPr>
            <p:cNvPr id="53" name="Straight Connector 52"/>
            <p:cNvCxnSpPr/>
            <p:nvPr/>
          </p:nvCxnSpPr>
          <p:spPr>
            <a:xfrm>
              <a:off x="722804" y="2179755"/>
              <a:ext cx="76983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603172" y="2087422"/>
              <a:ext cx="1937658" cy="184666"/>
            </a:xfrm>
            <a:prstGeom prst="rect">
              <a:avLst/>
            </a:prstGeom>
            <a:solidFill>
              <a:schemeClr val="bg1"/>
            </a:solidFill>
          </p:spPr>
          <p:txBody>
            <a:bodyPr wrap="square" lIns="0" tIns="0" rIns="0" bIns="0" rtlCol="0">
              <a:spAutoFit/>
            </a:bodyPr>
            <a:lstStyle/>
            <a:p>
              <a:pPr algn="ctr">
                <a:spcBef>
                  <a:spcPts val="1200"/>
                </a:spcBef>
                <a:buSzPct val="25000"/>
              </a:pPr>
              <a:r>
                <a:rPr lang="en-US" sz="1200" b="1" dirty="0">
                  <a:solidFill>
                    <a:srgbClr val="002776"/>
                  </a:solidFill>
                </a:rPr>
                <a:t>What It Could Look Like</a:t>
              </a:r>
            </a:p>
          </p:txBody>
        </p:sp>
      </p:grpSp>
      <p:grpSp>
        <p:nvGrpSpPr>
          <p:cNvPr id="35" name="Group 34"/>
          <p:cNvGrpSpPr/>
          <p:nvPr/>
        </p:nvGrpSpPr>
        <p:grpSpPr>
          <a:xfrm>
            <a:off x="9928711" y="103087"/>
            <a:ext cx="548640" cy="548640"/>
            <a:chOff x="4197664" y="4929246"/>
            <a:chExt cx="754756" cy="754756"/>
          </a:xfrm>
        </p:grpSpPr>
        <p:sp>
          <p:nvSpPr>
            <p:cNvPr id="37" name="Oval 36"/>
            <p:cNvSpPr/>
            <p:nvPr/>
          </p:nvSpPr>
          <p:spPr>
            <a:xfrm rot="4776862">
              <a:off x="4197664" y="4929246"/>
              <a:ext cx="754756" cy="754756"/>
            </a:xfrm>
            <a:prstGeom prst="ellipse">
              <a:avLst/>
            </a:prstGeom>
            <a:solidFill>
              <a:schemeClr val="accent2"/>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41" name="Freeform 40"/>
            <p:cNvSpPr>
              <a:spLocks noChangeAspect="1"/>
            </p:cNvSpPr>
            <p:nvPr/>
          </p:nvSpPr>
          <p:spPr bwMode="auto">
            <a:xfrm>
              <a:off x="4282833" y="5075529"/>
              <a:ext cx="477578" cy="457200"/>
            </a:xfrm>
            <a:custGeom>
              <a:avLst/>
              <a:gdLst>
                <a:gd name="T0" fmla="*/ 2566 w 3726"/>
                <a:gd name="T1" fmla="*/ 30 h 3567"/>
                <a:gd name="T2" fmla="*/ 2737 w 3726"/>
                <a:gd name="T3" fmla="*/ 147 h 3567"/>
                <a:gd name="T4" fmla="*/ 2834 w 3726"/>
                <a:gd name="T5" fmla="*/ 331 h 3567"/>
                <a:gd name="T6" fmla="*/ 2834 w 3726"/>
                <a:gd name="T7" fmla="*/ 547 h 3567"/>
                <a:gd name="T8" fmla="*/ 2737 w 3726"/>
                <a:gd name="T9" fmla="*/ 731 h 3567"/>
                <a:gd name="T10" fmla="*/ 2566 w 3726"/>
                <a:gd name="T11" fmla="*/ 849 h 3567"/>
                <a:gd name="T12" fmla="*/ 2372 w 3726"/>
                <a:gd name="T13" fmla="*/ 877 h 3567"/>
                <a:gd name="T14" fmla="*/ 2230 w 3726"/>
                <a:gd name="T15" fmla="*/ 1399 h 3567"/>
                <a:gd name="T16" fmla="*/ 2345 w 3726"/>
                <a:gd name="T17" fmla="*/ 1598 h 3567"/>
                <a:gd name="T18" fmla="*/ 2370 w 3726"/>
                <a:gd name="T19" fmla="*/ 1835 h 3567"/>
                <a:gd name="T20" fmla="*/ 2299 w 3726"/>
                <a:gd name="T21" fmla="*/ 2054 h 3567"/>
                <a:gd name="T22" fmla="*/ 2797 w 3726"/>
                <a:gd name="T23" fmla="*/ 2263 h 3567"/>
                <a:gd name="T24" fmla="*/ 3050 w 3726"/>
                <a:gd name="T25" fmla="*/ 2215 h 3567"/>
                <a:gd name="T26" fmla="*/ 3313 w 3726"/>
                <a:gd name="T27" fmla="*/ 2268 h 3567"/>
                <a:gd name="T28" fmla="*/ 3528 w 3726"/>
                <a:gd name="T29" fmla="*/ 2412 h 3567"/>
                <a:gd name="T30" fmla="*/ 3673 w 3726"/>
                <a:gd name="T31" fmla="*/ 2627 h 3567"/>
                <a:gd name="T32" fmla="*/ 3726 w 3726"/>
                <a:gd name="T33" fmla="*/ 2890 h 3567"/>
                <a:gd name="T34" fmla="*/ 3673 w 3726"/>
                <a:gd name="T35" fmla="*/ 3153 h 3567"/>
                <a:gd name="T36" fmla="*/ 3528 w 3726"/>
                <a:gd name="T37" fmla="*/ 3369 h 3567"/>
                <a:gd name="T38" fmla="*/ 3313 w 3726"/>
                <a:gd name="T39" fmla="*/ 3514 h 3567"/>
                <a:gd name="T40" fmla="*/ 3050 w 3726"/>
                <a:gd name="T41" fmla="*/ 3567 h 3567"/>
                <a:gd name="T42" fmla="*/ 2787 w 3726"/>
                <a:gd name="T43" fmla="*/ 3514 h 3567"/>
                <a:gd name="T44" fmla="*/ 2571 w 3726"/>
                <a:gd name="T45" fmla="*/ 3369 h 3567"/>
                <a:gd name="T46" fmla="*/ 2426 w 3726"/>
                <a:gd name="T47" fmla="*/ 3153 h 3567"/>
                <a:gd name="T48" fmla="*/ 2373 w 3726"/>
                <a:gd name="T49" fmla="*/ 2890 h 3567"/>
                <a:gd name="T50" fmla="*/ 2419 w 3726"/>
                <a:gd name="T51" fmla="*/ 2644 h 3567"/>
                <a:gd name="T52" fmla="*/ 2089 w 3726"/>
                <a:gd name="T53" fmla="*/ 2263 h 3567"/>
                <a:gd name="T54" fmla="*/ 1870 w 3726"/>
                <a:gd name="T55" fmla="*/ 2334 h 3567"/>
                <a:gd name="T56" fmla="*/ 1635 w 3726"/>
                <a:gd name="T57" fmla="*/ 2310 h 3567"/>
                <a:gd name="T58" fmla="*/ 1439 w 3726"/>
                <a:gd name="T59" fmla="*/ 2197 h 3567"/>
                <a:gd name="T60" fmla="*/ 1303 w 3726"/>
                <a:gd name="T61" fmla="*/ 2018 h 3567"/>
                <a:gd name="T62" fmla="*/ 838 w 3726"/>
                <a:gd name="T63" fmla="*/ 2258 h 3567"/>
                <a:gd name="T64" fmla="*/ 719 w 3726"/>
                <a:gd name="T65" fmla="*/ 2412 h 3567"/>
                <a:gd name="T66" fmla="*/ 542 w 3726"/>
                <a:gd name="T67" fmla="*/ 2500 h 3567"/>
                <a:gd name="T68" fmla="*/ 331 w 3726"/>
                <a:gd name="T69" fmla="*/ 2499 h 3567"/>
                <a:gd name="T70" fmla="*/ 148 w 3726"/>
                <a:gd name="T71" fmla="*/ 2402 h 3567"/>
                <a:gd name="T72" fmla="*/ 29 w 3726"/>
                <a:gd name="T73" fmla="*/ 2233 h 3567"/>
                <a:gd name="T74" fmla="*/ 3 w 3726"/>
                <a:gd name="T75" fmla="*/ 2018 h 3567"/>
                <a:gd name="T76" fmla="*/ 79 w 3726"/>
                <a:gd name="T77" fmla="*/ 1823 h 3567"/>
                <a:gd name="T78" fmla="*/ 233 w 3726"/>
                <a:gd name="T79" fmla="*/ 1686 h 3567"/>
                <a:gd name="T80" fmla="*/ 440 w 3726"/>
                <a:gd name="T81" fmla="*/ 1634 h 3567"/>
                <a:gd name="T82" fmla="*/ 650 w 3726"/>
                <a:gd name="T83" fmla="*/ 1687 h 3567"/>
                <a:gd name="T84" fmla="*/ 805 w 3726"/>
                <a:gd name="T85" fmla="*/ 1829 h 3567"/>
                <a:gd name="T86" fmla="*/ 1251 w 3726"/>
                <a:gd name="T87" fmla="*/ 1713 h 3567"/>
                <a:gd name="T88" fmla="*/ 1324 w 3726"/>
                <a:gd name="T89" fmla="*/ 1490 h 3567"/>
                <a:gd name="T90" fmla="*/ 1478 w 3726"/>
                <a:gd name="T91" fmla="*/ 1321 h 3567"/>
                <a:gd name="T92" fmla="*/ 1689 w 3726"/>
                <a:gd name="T93" fmla="*/ 1225 h 3567"/>
                <a:gd name="T94" fmla="*/ 1926 w 3726"/>
                <a:gd name="T95" fmla="*/ 1224 h 3567"/>
                <a:gd name="T96" fmla="*/ 2022 w 3726"/>
                <a:gd name="T97" fmla="*/ 648 h 3567"/>
                <a:gd name="T98" fmla="*/ 1969 w 3726"/>
                <a:gd name="T99" fmla="*/ 440 h 3567"/>
                <a:gd name="T100" fmla="*/ 2021 w 3726"/>
                <a:gd name="T101" fmla="*/ 233 h 3567"/>
                <a:gd name="T102" fmla="*/ 2157 w 3726"/>
                <a:gd name="T103" fmla="*/ 78 h 3567"/>
                <a:gd name="T104" fmla="*/ 2353 w 3726"/>
                <a:gd name="T105" fmla="*/ 4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26" h="3567">
                  <a:moveTo>
                    <a:pt x="2408" y="0"/>
                  </a:moveTo>
                  <a:lnTo>
                    <a:pt x="2463" y="4"/>
                  </a:lnTo>
                  <a:lnTo>
                    <a:pt x="2517" y="14"/>
                  </a:lnTo>
                  <a:lnTo>
                    <a:pt x="2566" y="30"/>
                  </a:lnTo>
                  <a:lnTo>
                    <a:pt x="2615" y="51"/>
                  </a:lnTo>
                  <a:lnTo>
                    <a:pt x="2659" y="78"/>
                  </a:lnTo>
                  <a:lnTo>
                    <a:pt x="2700" y="111"/>
                  </a:lnTo>
                  <a:lnTo>
                    <a:pt x="2737" y="147"/>
                  </a:lnTo>
                  <a:lnTo>
                    <a:pt x="2769" y="188"/>
                  </a:lnTo>
                  <a:lnTo>
                    <a:pt x="2796" y="233"/>
                  </a:lnTo>
                  <a:lnTo>
                    <a:pt x="2818" y="280"/>
                  </a:lnTo>
                  <a:lnTo>
                    <a:pt x="2834" y="331"/>
                  </a:lnTo>
                  <a:lnTo>
                    <a:pt x="2844" y="384"/>
                  </a:lnTo>
                  <a:lnTo>
                    <a:pt x="2848" y="440"/>
                  </a:lnTo>
                  <a:lnTo>
                    <a:pt x="2844" y="494"/>
                  </a:lnTo>
                  <a:lnTo>
                    <a:pt x="2834" y="547"/>
                  </a:lnTo>
                  <a:lnTo>
                    <a:pt x="2818" y="598"/>
                  </a:lnTo>
                  <a:lnTo>
                    <a:pt x="2796" y="645"/>
                  </a:lnTo>
                  <a:lnTo>
                    <a:pt x="2769" y="690"/>
                  </a:lnTo>
                  <a:lnTo>
                    <a:pt x="2737" y="731"/>
                  </a:lnTo>
                  <a:lnTo>
                    <a:pt x="2700" y="767"/>
                  </a:lnTo>
                  <a:lnTo>
                    <a:pt x="2659" y="800"/>
                  </a:lnTo>
                  <a:lnTo>
                    <a:pt x="2615" y="827"/>
                  </a:lnTo>
                  <a:lnTo>
                    <a:pt x="2566" y="849"/>
                  </a:lnTo>
                  <a:lnTo>
                    <a:pt x="2517" y="866"/>
                  </a:lnTo>
                  <a:lnTo>
                    <a:pt x="2463" y="875"/>
                  </a:lnTo>
                  <a:lnTo>
                    <a:pt x="2408" y="878"/>
                  </a:lnTo>
                  <a:lnTo>
                    <a:pt x="2372" y="877"/>
                  </a:lnTo>
                  <a:lnTo>
                    <a:pt x="2337" y="872"/>
                  </a:lnTo>
                  <a:lnTo>
                    <a:pt x="2145" y="1322"/>
                  </a:lnTo>
                  <a:lnTo>
                    <a:pt x="2189" y="1359"/>
                  </a:lnTo>
                  <a:lnTo>
                    <a:pt x="2230" y="1399"/>
                  </a:lnTo>
                  <a:lnTo>
                    <a:pt x="2266" y="1444"/>
                  </a:lnTo>
                  <a:lnTo>
                    <a:pt x="2296" y="1493"/>
                  </a:lnTo>
                  <a:lnTo>
                    <a:pt x="2323" y="1543"/>
                  </a:lnTo>
                  <a:lnTo>
                    <a:pt x="2345" y="1598"/>
                  </a:lnTo>
                  <a:lnTo>
                    <a:pt x="2360" y="1654"/>
                  </a:lnTo>
                  <a:lnTo>
                    <a:pt x="2370" y="1714"/>
                  </a:lnTo>
                  <a:lnTo>
                    <a:pt x="2373" y="1775"/>
                  </a:lnTo>
                  <a:lnTo>
                    <a:pt x="2370" y="1835"/>
                  </a:lnTo>
                  <a:lnTo>
                    <a:pt x="2361" y="1894"/>
                  </a:lnTo>
                  <a:lnTo>
                    <a:pt x="2345" y="1950"/>
                  </a:lnTo>
                  <a:lnTo>
                    <a:pt x="2324" y="2003"/>
                  </a:lnTo>
                  <a:lnTo>
                    <a:pt x="2299" y="2054"/>
                  </a:lnTo>
                  <a:lnTo>
                    <a:pt x="2634" y="2357"/>
                  </a:lnTo>
                  <a:lnTo>
                    <a:pt x="2685" y="2321"/>
                  </a:lnTo>
                  <a:lnTo>
                    <a:pt x="2739" y="2289"/>
                  </a:lnTo>
                  <a:lnTo>
                    <a:pt x="2797" y="2263"/>
                  </a:lnTo>
                  <a:lnTo>
                    <a:pt x="2857" y="2242"/>
                  </a:lnTo>
                  <a:lnTo>
                    <a:pt x="2919" y="2227"/>
                  </a:lnTo>
                  <a:lnTo>
                    <a:pt x="2983" y="2217"/>
                  </a:lnTo>
                  <a:lnTo>
                    <a:pt x="3050" y="2215"/>
                  </a:lnTo>
                  <a:lnTo>
                    <a:pt x="3119" y="2218"/>
                  </a:lnTo>
                  <a:lnTo>
                    <a:pt x="3186" y="2228"/>
                  </a:lnTo>
                  <a:lnTo>
                    <a:pt x="3251" y="2244"/>
                  </a:lnTo>
                  <a:lnTo>
                    <a:pt x="3313" y="2268"/>
                  </a:lnTo>
                  <a:lnTo>
                    <a:pt x="3372" y="2296"/>
                  </a:lnTo>
                  <a:lnTo>
                    <a:pt x="3427" y="2330"/>
                  </a:lnTo>
                  <a:lnTo>
                    <a:pt x="3481" y="2368"/>
                  </a:lnTo>
                  <a:lnTo>
                    <a:pt x="3528" y="2412"/>
                  </a:lnTo>
                  <a:lnTo>
                    <a:pt x="3572" y="2460"/>
                  </a:lnTo>
                  <a:lnTo>
                    <a:pt x="3610" y="2513"/>
                  </a:lnTo>
                  <a:lnTo>
                    <a:pt x="3644" y="2568"/>
                  </a:lnTo>
                  <a:lnTo>
                    <a:pt x="3673" y="2627"/>
                  </a:lnTo>
                  <a:lnTo>
                    <a:pt x="3696" y="2689"/>
                  </a:lnTo>
                  <a:lnTo>
                    <a:pt x="3712" y="2755"/>
                  </a:lnTo>
                  <a:lnTo>
                    <a:pt x="3722" y="2821"/>
                  </a:lnTo>
                  <a:lnTo>
                    <a:pt x="3726" y="2890"/>
                  </a:lnTo>
                  <a:lnTo>
                    <a:pt x="3722" y="2960"/>
                  </a:lnTo>
                  <a:lnTo>
                    <a:pt x="3712" y="3027"/>
                  </a:lnTo>
                  <a:lnTo>
                    <a:pt x="3696" y="3091"/>
                  </a:lnTo>
                  <a:lnTo>
                    <a:pt x="3673" y="3153"/>
                  </a:lnTo>
                  <a:lnTo>
                    <a:pt x="3644" y="3213"/>
                  </a:lnTo>
                  <a:lnTo>
                    <a:pt x="3610" y="3269"/>
                  </a:lnTo>
                  <a:lnTo>
                    <a:pt x="3572" y="3321"/>
                  </a:lnTo>
                  <a:lnTo>
                    <a:pt x="3528" y="3369"/>
                  </a:lnTo>
                  <a:lnTo>
                    <a:pt x="3481" y="3412"/>
                  </a:lnTo>
                  <a:lnTo>
                    <a:pt x="3427" y="3452"/>
                  </a:lnTo>
                  <a:lnTo>
                    <a:pt x="3372" y="3486"/>
                  </a:lnTo>
                  <a:lnTo>
                    <a:pt x="3313" y="3514"/>
                  </a:lnTo>
                  <a:lnTo>
                    <a:pt x="3251" y="3536"/>
                  </a:lnTo>
                  <a:lnTo>
                    <a:pt x="3186" y="3553"/>
                  </a:lnTo>
                  <a:lnTo>
                    <a:pt x="3119" y="3564"/>
                  </a:lnTo>
                  <a:lnTo>
                    <a:pt x="3050" y="3567"/>
                  </a:lnTo>
                  <a:lnTo>
                    <a:pt x="2980" y="3564"/>
                  </a:lnTo>
                  <a:lnTo>
                    <a:pt x="2913" y="3553"/>
                  </a:lnTo>
                  <a:lnTo>
                    <a:pt x="2849" y="3536"/>
                  </a:lnTo>
                  <a:lnTo>
                    <a:pt x="2787" y="3514"/>
                  </a:lnTo>
                  <a:lnTo>
                    <a:pt x="2727" y="3486"/>
                  </a:lnTo>
                  <a:lnTo>
                    <a:pt x="2671" y="3452"/>
                  </a:lnTo>
                  <a:lnTo>
                    <a:pt x="2619" y="3412"/>
                  </a:lnTo>
                  <a:lnTo>
                    <a:pt x="2571" y="3369"/>
                  </a:lnTo>
                  <a:lnTo>
                    <a:pt x="2528" y="3321"/>
                  </a:lnTo>
                  <a:lnTo>
                    <a:pt x="2488" y="3269"/>
                  </a:lnTo>
                  <a:lnTo>
                    <a:pt x="2454" y="3213"/>
                  </a:lnTo>
                  <a:lnTo>
                    <a:pt x="2426" y="3153"/>
                  </a:lnTo>
                  <a:lnTo>
                    <a:pt x="2404" y="3091"/>
                  </a:lnTo>
                  <a:lnTo>
                    <a:pt x="2387" y="3027"/>
                  </a:lnTo>
                  <a:lnTo>
                    <a:pt x="2376" y="2960"/>
                  </a:lnTo>
                  <a:lnTo>
                    <a:pt x="2373" y="2890"/>
                  </a:lnTo>
                  <a:lnTo>
                    <a:pt x="2375" y="2826"/>
                  </a:lnTo>
                  <a:lnTo>
                    <a:pt x="2384" y="2764"/>
                  </a:lnTo>
                  <a:lnTo>
                    <a:pt x="2399" y="2703"/>
                  </a:lnTo>
                  <a:lnTo>
                    <a:pt x="2419" y="2644"/>
                  </a:lnTo>
                  <a:lnTo>
                    <a:pt x="2444" y="2589"/>
                  </a:lnTo>
                  <a:lnTo>
                    <a:pt x="2474" y="2535"/>
                  </a:lnTo>
                  <a:lnTo>
                    <a:pt x="2137" y="2233"/>
                  </a:lnTo>
                  <a:lnTo>
                    <a:pt x="2089" y="2263"/>
                  </a:lnTo>
                  <a:lnTo>
                    <a:pt x="2039" y="2289"/>
                  </a:lnTo>
                  <a:lnTo>
                    <a:pt x="1984" y="2310"/>
                  </a:lnTo>
                  <a:lnTo>
                    <a:pt x="1929" y="2324"/>
                  </a:lnTo>
                  <a:lnTo>
                    <a:pt x="1870" y="2334"/>
                  </a:lnTo>
                  <a:lnTo>
                    <a:pt x="1810" y="2337"/>
                  </a:lnTo>
                  <a:lnTo>
                    <a:pt x="1750" y="2334"/>
                  </a:lnTo>
                  <a:lnTo>
                    <a:pt x="1692" y="2324"/>
                  </a:lnTo>
                  <a:lnTo>
                    <a:pt x="1635" y="2310"/>
                  </a:lnTo>
                  <a:lnTo>
                    <a:pt x="1582" y="2289"/>
                  </a:lnTo>
                  <a:lnTo>
                    <a:pt x="1531" y="2263"/>
                  </a:lnTo>
                  <a:lnTo>
                    <a:pt x="1484" y="2233"/>
                  </a:lnTo>
                  <a:lnTo>
                    <a:pt x="1439" y="2197"/>
                  </a:lnTo>
                  <a:lnTo>
                    <a:pt x="1399" y="2158"/>
                  </a:lnTo>
                  <a:lnTo>
                    <a:pt x="1362" y="2114"/>
                  </a:lnTo>
                  <a:lnTo>
                    <a:pt x="1330" y="2068"/>
                  </a:lnTo>
                  <a:lnTo>
                    <a:pt x="1303" y="2018"/>
                  </a:lnTo>
                  <a:lnTo>
                    <a:pt x="877" y="2111"/>
                  </a:lnTo>
                  <a:lnTo>
                    <a:pt x="870" y="2161"/>
                  </a:lnTo>
                  <a:lnTo>
                    <a:pt x="857" y="2210"/>
                  </a:lnTo>
                  <a:lnTo>
                    <a:pt x="838" y="2258"/>
                  </a:lnTo>
                  <a:lnTo>
                    <a:pt x="816" y="2300"/>
                  </a:lnTo>
                  <a:lnTo>
                    <a:pt x="788" y="2341"/>
                  </a:lnTo>
                  <a:lnTo>
                    <a:pt x="755" y="2378"/>
                  </a:lnTo>
                  <a:lnTo>
                    <a:pt x="719" y="2412"/>
                  </a:lnTo>
                  <a:lnTo>
                    <a:pt x="679" y="2442"/>
                  </a:lnTo>
                  <a:lnTo>
                    <a:pt x="636" y="2467"/>
                  </a:lnTo>
                  <a:lnTo>
                    <a:pt x="591" y="2486"/>
                  </a:lnTo>
                  <a:lnTo>
                    <a:pt x="542" y="2500"/>
                  </a:lnTo>
                  <a:lnTo>
                    <a:pt x="492" y="2509"/>
                  </a:lnTo>
                  <a:lnTo>
                    <a:pt x="440" y="2513"/>
                  </a:lnTo>
                  <a:lnTo>
                    <a:pt x="384" y="2509"/>
                  </a:lnTo>
                  <a:lnTo>
                    <a:pt x="331" y="2499"/>
                  </a:lnTo>
                  <a:lnTo>
                    <a:pt x="280" y="2483"/>
                  </a:lnTo>
                  <a:lnTo>
                    <a:pt x="233" y="2461"/>
                  </a:lnTo>
                  <a:lnTo>
                    <a:pt x="189" y="2434"/>
                  </a:lnTo>
                  <a:lnTo>
                    <a:pt x="148" y="2402"/>
                  </a:lnTo>
                  <a:lnTo>
                    <a:pt x="111" y="2365"/>
                  </a:lnTo>
                  <a:lnTo>
                    <a:pt x="79" y="2324"/>
                  </a:lnTo>
                  <a:lnTo>
                    <a:pt x="52" y="2280"/>
                  </a:lnTo>
                  <a:lnTo>
                    <a:pt x="29" y="2233"/>
                  </a:lnTo>
                  <a:lnTo>
                    <a:pt x="14" y="2182"/>
                  </a:lnTo>
                  <a:lnTo>
                    <a:pt x="3" y="2129"/>
                  </a:lnTo>
                  <a:lnTo>
                    <a:pt x="0" y="2073"/>
                  </a:lnTo>
                  <a:lnTo>
                    <a:pt x="3" y="2018"/>
                  </a:lnTo>
                  <a:lnTo>
                    <a:pt x="14" y="1965"/>
                  </a:lnTo>
                  <a:lnTo>
                    <a:pt x="29" y="1915"/>
                  </a:lnTo>
                  <a:lnTo>
                    <a:pt x="52" y="1867"/>
                  </a:lnTo>
                  <a:lnTo>
                    <a:pt x="79" y="1823"/>
                  </a:lnTo>
                  <a:lnTo>
                    <a:pt x="111" y="1782"/>
                  </a:lnTo>
                  <a:lnTo>
                    <a:pt x="148" y="1745"/>
                  </a:lnTo>
                  <a:lnTo>
                    <a:pt x="189" y="1713"/>
                  </a:lnTo>
                  <a:lnTo>
                    <a:pt x="233" y="1686"/>
                  </a:lnTo>
                  <a:lnTo>
                    <a:pt x="280" y="1663"/>
                  </a:lnTo>
                  <a:lnTo>
                    <a:pt x="331" y="1647"/>
                  </a:lnTo>
                  <a:lnTo>
                    <a:pt x="384" y="1637"/>
                  </a:lnTo>
                  <a:lnTo>
                    <a:pt x="440" y="1634"/>
                  </a:lnTo>
                  <a:lnTo>
                    <a:pt x="495" y="1637"/>
                  </a:lnTo>
                  <a:lnTo>
                    <a:pt x="549" y="1649"/>
                  </a:lnTo>
                  <a:lnTo>
                    <a:pt x="601" y="1664"/>
                  </a:lnTo>
                  <a:lnTo>
                    <a:pt x="650" y="1687"/>
                  </a:lnTo>
                  <a:lnTo>
                    <a:pt x="694" y="1715"/>
                  </a:lnTo>
                  <a:lnTo>
                    <a:pt x="736" y="1749"/>
                  </a:lnTo>
                  <a:lnTo>
                    <a:pt x="772" y="1786"/>
                  </a:lnTo>
                  <a:lnTo>
                    <a:pt x="805" y="1829"/>
                  </a:lnTo>
                  <a:lnTo>
                    <a:pt x="832" y="1875"/>
                  </a:lnTo>
                  <a:lnTo>
                    <a:pt x="1249" y="1784"/>
                  </a:lnTo>
                  <a:lnTo>
                    <a:pt x="1248" y="1775"/>
                  </a:lnTo>
                  <a:lnTo>
                    <a:pt x="1251" y="1713"/>
                  </a:lnTo>
                  <a:lnTo>
                    <a:pt x="1261" y="1654"/>
                  </a:lnTo>
                  <a:lnTo>
                    <a:pt x="1277" y="1597"/>
                  </a:lnTo>
                  <a:lnTo>
                    <a:pt x="1298" y="1542"/>
                  </a:lnTo>
                  <a:lnTo>
                    <a:pt x="1324" y="1490"/>
                  </a:lnTo>
                  <a:lnTo>
                    <a:pt x="1356" y="1443"/>
                  </a:lnTo>
                  <a:lnTo>
                    <a:pt x="1393" y="1398"/>
                  </a:lnTo>
                  <a:lnTo>
                    <a:pt x="1434" y="1357"/>
                  </a:lnTo>
                  <a:lnTo>
                    <a:pt x="1478" y="1321"/>
                  </a:lnTo>
                  <a:lnTo>
                    <a:pt x="1527" y="1289"/>
                  </a:lnTo>
                  <a:lnTo>
                    <a:pt x="1578" y="1262"/>
                  </a:lnTo>
                  <a:lnTo>
                    <a:pt x="1633" y="1241"/>
                  </a:lnTo>
                  <a:lnTo>
                    <a:pt x="1689" y="1225"/>
                  </a:lnTo>
                  <a:lnTo>
                    <a:pt x="1749" y="1216"/>
                  </a:lnTo>
                  <a:lnTo>
                    <a:pt x="1810" y="1212"/>
                  </a:lnTo>
                  <a:lnTo>
                    <a:pt x="1869" y="1216"/>
                  </a:lnTo>
                  <a:lnTo>
                    <a:pt x="1926" y="1224"/>
                  </a:lnTo>
                  <a:lnTo>
                    <a:pt x="2120" y="771"/>
                  </a:lnTo>
                  <a:lnTo>
                    <a:pt x="2083" y="733"/>
                  </a:lnTo>
                  <a:lnTo>
                    <a:pt x="2049" y="693"/>
                  </a:lnTo>
                  <a:lnTo>
                    <a:pt x="2022" y="648"/>
                  </a:lnTo>
                  <a:lnTo>
                    <a:pt x="1999" y="600"/>
                  </a:lnTo>
                  <a:lnTo>
                    <a:pt x="1982" y="548"/>
                  </a:lnTo>
                  <a:lnTo>
                    <a:pt x="1972" y="495"/>
                  </a:lnTo>
                  <a:lnTo>
                    <a:pt x="1969" y="440"/>
                  </a:lnTo>
                  <a:lnTo>
                    <a:pt x="1972" y="384"/>
                  </a:lnTo>
                  <a:lnTo>
                    <a:pt x="1982" y="331"/>
                  </a:lnTo>
                  <a:lnTo>
                    <a:pt x="1998" y="280"/>
                  </a:lnTo>
                  <a:lnTo>
                    <a:pt x="2021" y="233"/>
                  </a:lnTo>
                  <a:lnTo>
                    <a:pt x="2048" y="188"/>
                  </a:lnTo>
                  <a:lnTo>
                    <a:pt x="2079" y="147"/>
                  </a:lnTo>
                  <a:lnTo>
                    <a:pt x="2117" y="111"/>
                  </a:lnTo>
                  <a:lnTo>
                    <a:pt x="2157" y="78"/>
                  </a:lnTo>
                  <a:lnTo>
                    <a:pt x="2201" y="51"/>
                  </a:lnTo>
                  <a:lnTo>
                    <a:pt x="2249" y="30"/>
                  </a:lnTo>
                  <a:lnTo>
                    <a:pt x="2300" y="14"/>
                  </a:lnTo>
                  <a:lnTo>
                    <a:pt x="2353" y="4"/>
                  </a:lnTo>
                  <a:lnTo>
                    <a:pt x="24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56" name="Rectangle 55"/>
          <p:cNvSpPr/>
          <p:nvPr/>
        </p:nvSpPr>
        <p:spPr bwMode="gray">
          <a:xfrm>
            <a:off x="1885532" y="3714743"/>
            <a:ext cx="8327344" cy="2005091"/>
          </a:xfrm>
          <a:prstGeom prst="rect">
            <a:avLst/>
          </a:prstGeom>
          <a:solidFill>
            <a:schemeClr val="bg1">
              <a:lumMod val="95000"/>
            </a:schemeClr>
          </a:solidFill>
          <a:ln w="19050" algn="ctr">
            <a:noFill/>
            <a:miter lim="800000"/>
            <a:headEnd/>
            <a:tailEnd/>
          </a:ln>
        </p:spPr>
        <p:txBody>
          <a:bodyPr wrap="square" lIns="88900" tIns="182880" rIns="88900" bIns="88900" rtlCol="0" anchor="t"/>
          <a:lstStyle/>
          <a:p>
            <a:pPr algn="ctr">
              <a:lnSpc>
                <a:spcPct val="106000"/>
              </a:lnSpc>
              <a:buFont typeface="Wingdings 2" pitchFamily="18" charset="2"/>
              <a:buNone/>
            </a:pPr>
            <a:r>
              <a:rPr lang="en-US" sz="1200" b="1" i="1" dirty="0">
                <a:solidFill>
                  <a:schemeClr val="tx2"/>
                </a:solidFill>
              </a:rPr>
              <a:t>Content areas and “apps” within the platform could potentially include:</a:t>
            </a:r>
          </a:p>
        </p:txBody>
      </p:sp>
      <p:pic>
        <p:nvPicPr>
          <p:cNvPr id="69" name="Picture 68" descr="pointer.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5014" y="4461104"/>
            <a:ext cx="263415" cy="325395"/>
          </a:xfrm>
          <a:prstGeom prst="rect">
            <a:avLst/>
          </a:prstGeom>
        </p:spPr>
      </p:pic>
      <p:sp>
        <p:nvSpPr>
          <p:cNvPr id="60" name="Rectangle 59"/>
          <p:cNvSpPr/>
          <p:nvPr/>
        </p:nvSpPr>
        <p:spPr bwMode="gray">
          <a:xfrm>
            <a:off x="6169082" y="4280333"/>
            <a:ext cx="1828800" cy="1177105"/>
          </a:xfrm>
          <a:prstGeom prst="rect">
            <a:avLst/>
          </a:prstGeom>
          <a:noFill/>
          <a:ln w="38100" algn="ctr">
            <a:solidFill>
              <a:schemeClr val="accent1"/>
            </a:solidFill>
            <a:miter lim="800000"/>
            <a:headEnd/>
            <a:tailEnd/>
          </a:ln>
        </p:spPr>
        <p:txBody>
          <a:bodyPr wrap="square" lIns="88900" tIns="88900" rIns="88900" bIns="88900" rtlCol="0" anchor="t" anchorCtr="0"/>
          <a:lstStyle/>
          <a:p>
            <a:pPr marL="339725" lvl="1" algn="ctr">
              <a:lnSpc>
                <a:spcPct val="106000"/>
              </a:lnSpc>
              <a:spcAft>
                <a:spcPts val="600"/>
              </a:spcAft>
            </a:pPr>
            <a:r>
              <a:rPr lang="en-US" sz="1100" b="1" dirty="0">
                <a:solidFill>
                  <a:srgbClr val="313131"/>
                </a:solidFill>
              </a:rPr>
              <a:t>Nano-Learning Modules</a:t>
            </a:r>
          </a:p>
          <a:p>
            <a:pPr marL="0" lvl="1" algn="ctr">
              <a:lnSpc>
                <a:spcPct val="106000"/>
              </a:lnSpc>
              <a:spcAft>
                <a:spcPts val="600"/>
              </a:spcAft>
            </a:pPr>
            <a:r>
              <a:rPr lang="en-US" sz="1100" dirty="0">
                <a:solidFill>
                  <a:srgbClr val="313131"/>
                </a:solidFill>
              </a:rPr>
              <a:t>Bite-sized CPE content delivered via highly engaging methods</a:t>
            </a:r>
          </a:p>
        </p:txBody>
      </p:sp>
      <p:sp>
        <p:nvSpPr>
          <p:cNvPr id="62" name="Freeform 5"/>
          <p:cNvSpPr>
            <a:spLocks noChangeAspect="1" noEditPoints="1"/>
          </p:cNvSpPr>
          <p:nvPr/>
        </p:nvSpPr>
        <p:spPr bwMode="auto">
          <a:xfrm>
            <a:off x="6322492" y="4379854"/>
            <a:ext cx="298403" cy="400550"/>
          </a:xfrm>
          <a:custGeom>
            <a:avLst/>
            <a:gdLst>
              <a:gd name="T0" fmla="*/ 1272 w 2797"/>
              <a:gd name="T1" fmla="*/ 489 h 3763"/>
              <a:gd name="T2" fmla="*/ 820 w 2797"/>
              <a:gd name="T3" fmla="*/ 1091 h 3763"/>
              <a:gd name="T4" fmla="*/ 951 w 2797"/>
              <a:gd name="T5" fmla="*/ 1245 h 3763"/>
              <a:gd name="T6" fmla="*/ 1889 w 2797"/>
              <a:gd name="T7" fmla="*/ 0 h 3763"/>
              <a:gd name="T8" fmla="*/ 1398 w 2797"/>
              <a:gd name="T9" fmla="*/ 2071 h 3763"/>
              <a:gd name="T10" fmla="*/ 1353 w 2797"/>
              <a:gd name="T11" fmla="*/ 2081 h 3763"/>
              <a:gd name="T12" fmla="*/ 1303 w 2797"/>
              <a:gd name="T13" fmla="*/ 2129 h 3763"/>
              <a:gd name="T14" fmla="*/ 906 w 2797"/>
              <a:gd name="T15" fmla="*/ 2408 h 3763"/>
              <a:gd name="T16" fmla="*/ 854 w 2797"/>
              <a:gd name="T17" fmla="*/ 2454 h 3763"/>
              <a:gd name="T18" fmla="*/ 840 w 2797"/>
              <a:gd name="T19" fmla="*/ 2506 h 3763"/>
              <a:gd name="T20" fmla="*/ 858 w 2797"/>
              <a:gd name="T21" fmla="*/ 2566 h 3763"/>
              <a:gd name="T22" fmla="*/ 1014 w 2797"/>
              <a:gd name="T23" fmla="*/ 3024 h 3763"/>
              <a:gd name="T24" fmla="*/ 1016 w 2797"/>
              <a:gd name="T25" fmla="*/ 3068 h 3763"/>
              <a:gd name="T26" fmla="*/ 1056 w 2797"/>
              <a:gd name="T27" fmla="*/ 3128 h 3763"/>
              <a:gd name="T28" fmla="*/ 1117 w 2797"/>
              <a:gd name="T29" fmla="*/ 3148 h 3763"/>
              <a:gd name="T30" fmla="*/ 1167 w 2797"/>
              <a:gd name="T31" fmla="*/ 3136 h 3763"/>
              <a:gd name="T32" fmla="*/ 1646 w 2797"/>
              <a:gd name="T33" fmla="*/ 3143 h 3763"/>
              <a:gd name="T34" fmla="*/ 1700 w 2797"/>
              <a:gd name="T35" fmla="*/ 3146 h 3763"/>
              <a:gd name="T36" fmla="*/ 1757 w 2797"/>
              <a:gd name="T37" fmla="*/ 3111 h 3763"/>
              <a:gd name="T38" fmla="*/ 1783 w 2797"/>
              <a:gd name="T39" fmla="*/ 3043 h 3763"/>
              <a:gd name="T40" fmla="*/ 1736 w 2797"/>
              <a:gd name="T41" fmla="*/ 2766 h 3763"/>
              <a:gd name="T42" fmla="*/ 1949 w 2797"/>
              <a:gd name="T43" fmla="*/ 2546 h 3763"/>
              <a:gd name="T44" fmla="*/ 1955 w 2797"/>
              <a:gd name="T45" fmla="*/ 2490 h 3763"/>
              <a:gd name="T46" fmla="*/ 1927 w 2797"/>
              <a:gd name="T47" fmla="*/ 2435 h 3763"/>
              <a:gd name="T48" fmla="*/ 1867 w 2797"/>
              <a:gd name="T49" fmla="*/ 2403 h 3763"/>
              <a:gd name="T50" fmla="*/ 1479 w 2797"/>
              <a:gd name="T51" fmla="*/ 2110 h 3763"/>
              <a:gd name="T52" fmla="*/ 1422 w 2797"/>
              <a:gd name="T53" fmla="*/ 2073 h 3763"/>
              <a:gd name="T54" fmla="*/ 1398 w 2797"/>
              <a:gd name="T55" fmla="*/ 1455 h 3763"/>
              <a:gd name="T56" fmla="*/ 1576 w 2797"/>
              <a:gd name="T57" fmla="*/ 1469 h 3763"/>
              <a:gd name="T58" fmla="*/ 1825 w 2797"/>
              <a:gd name="T59" fmla="*/ 1539 h 3763"/>
              <a:gd name="T60" fmla="*/ 2049 w 2797"/>
              <a:gd name="T61" fmla="*/ 1658 h 3763"/>
              <a:gd name="T62" fmla="*/ 2238 w 2797"/>
              <a:gd name="T63" fmla="*/ 1824 h 3763"/>
              <a:gd name="T64" fmla="*/ 2388 w 2797"/>
              <a:gd name="T65" fmla="*/ 2027 h 3763"/>
              <a:gd name="T66" fmla="*/ 2491 w 2797"/>
              <a:gd name="T67" fmla="*/ 2261 h 3763"/>
              <a:gd name="T68" fmla="*/ 2541 w 2797"/>
              <a:gd name="T69" fmla="*/ 2519 h 3763"/>
              <a:gd name="T70" fmla="*/ 2531 w 2797"/>
              <a:gd name="T71" fmla="*/ 2788 h 3763"/>
              <a:gd name="T72" fmla="*/ 2463 w 2797"/>
              <a:gd name="T73" fmla="*/ 3039 h 3763"/>
              <a:gd name="T74" fmla="*/ 2344 w 2797"/>
              <a:gd name="T75" fmla="*/ 3263 h 3763"/>
              <a:gd name="T76" fmla="*/ 2179 w 2797"/>
              <a:gd name="T77" fmla="*/ 3454 h 3763"/>
              <a:gd name="T78" fmla="*/ 1977 w 2797"/>
              <a:gd name="T79" fmla="*/ 3605 h 3763"/>
              <a:gd name="T80" fmla="*/ 1745 w 2797"/>
              <a:gd name="T81" fmla="*/ 3709 h 3763"/>
              <a:gd name="T82" fmla="*/ 1487 w 2797"/>
              <a:gd name="T83" fmla="*/ 3759 h 3763"/>
              <a:gd name="T84" fmla="*/ 1221 w 2797"/>
              <a:gd name="T85" fmla="*/ 3749 h 3763"/>
              <a:gd name="T86" fmla="*/ 971 w 2797"/>
              <a:gd name="T87" fmla="*/ 3681 h 3763"/>
              <a:gd name="T88" fmla="*/ 747 w 2797"/>
              <a:gd name="T89" fmla="*/ 3559 h 3763"/>
              <a:gd name="T90" fmla="*/ 558 w 2797"/>
              <a:gd name="T91" fmla="*/ 3394 h 3763"/>
              <a:gd name="T92" fmla="*/ 408 w 2797"/>
              <a:gd name="T93" fmla="*/ 3191 h 3763"/>
              <a:gd name="T94" fmla="*/ 305 w 2797"/>
              <a:gd name="T95" fmla="*/ 2958 h 3763"/>
              <a:gd name="T96" fmla="*/ 254 w 2797"/>
              <a:gd name="T97" fmla="*/ 2699 h 3763"/>
              <a:gd name="T98" fmla="*/ 265 w 2797"/>
              <a:gd name="T99" fmla="*/ 2430 h 3763"/>
              <a:gd name="T100" fmla="*/ 333 w 2797"/>
              <a:gd name="T101" fmla="*/ 2180 h 3763"/>
              <a:gd name="T102" fmla="*/ 453 w 2797"/>
              <a:gd name="T103" fmla="*/ 1955 h 3763"/>
              <a:gd name="T104" fmla="*/ 617 w 2797"/>
              <a:gd name="T105" fmla="*/ 1765 h 3763"/>
              <a:gd name="T106" fmla="*/ 819 w 2797"/>
              <a:gd name="T107" fmla="*/ 1613 h 3763"/>
              <a:gd name="T108" fmla="*/ 1052 w 2797"/>
              <a:gd name="T109" fmla="*/ 1509 h 3763"/>
              <a:gd name="T110" fmla="*/ 1309 w 2797"/>
              <a:gd name="T111" fmla="*/ 1459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97" h="3763">
                <a:moveTo>
                  <a:pt x="820" y="1091"/>
                </a:moveTo>
                <a:lnTo>
                  <a:pt x="820" y="1091"/>
                </a:lnTo>
                <a:lnTo>
                  <a:pt x="1272" y="489"/>
                </a:lnTo>
                <a:lnTo>
                  <a:pt x="905" y="0"/>
                </a:lnTo>
                <a:lnTo>
                  <a:pt x="0" y="0"/>
                </a:lnTo>
                <a:lnTo>
                  <a:pt x="820" y="1091"/>
                </a:lnTo>
                <a:lnTo>
                  <a:pt x="820" y="1091"/>
                </a:lnTo>
                <a:close/>
                <a:moveTo>
                  <a:pt x="951" y="1245"/>
                </a:moveTo>
                <a:lnTo>
                  <a:pt x="951" y="1245"/>
                </a:lnTo>
                <a:lnTo>
                  <a:pt x="1859" y="1245"/>
                </a:lnTo>
                <a:lnTo>
                  <a:pt x="2797" y="0"/>
                </a:lnTo>
                <a:lnTo>
                  <a:pt x="1889" y="0"/>
                </a:lnTo>
                <a:lnTo>
                  <a:pt x="951" y="1245"/>
                </a:lnTo>
                <a:lnTo>
                  <a:pt x="951" y="1245"/>
                </a:lnTo>
                <a:close/>
                <a:moveTo>
                  <a:pt x="1398" y="2071"/>
                </a:moveTo>
                <a:lnTo>
                  <a:pt x="1398" y="2071"/>
                </a:lnTo>
                <a:lnTo>
                  <a:pt x="1374" y="2073"/>
                </a:lnTo>
                <a:lnTo>
                  <a:pt x="1353" y="2081"/>
                </a:lnTo>
                <a:lnTo>
                  <a:pt x="1334" y="2093"/>
                </a:lnTo>
                <a:lnTo>
                  <a:pt x="1317" y="2110"/>
                </a:lnTo>
                <a:lnTo>
                  <a:pt x="1303" y="2129"/>
                </a:lnTo>
                <a:lnTo>
                  <a:pt x="1188" y="2365"/>
                </a:lnTo>
                <a:lnTo>
                  <a:pt x="929" y="2403"/>
                </a:lnTo>
                <a:lnTo>
                  <a:pt x="906" y="2408"/>
                </a:lnTo>
                <a:lnTo>
                  <a:pt x="886" y="2420"/>
                </a:lnTo>
                <a:lnTo>
                  <a:pt x="869" y="2435"/>
                </a:lnTo>
                <a:lnTo>
                  <a:pt x="854" y="2454"/>
                </a:lnTo>
                <a:lnTo>
                  <a:pt x="845" y="2475"/>
                </a:lnTo>
                <a:lnTo>
                  <a:pt x="842" y="2490"/>
                </a:lnTo>
                <a:lnTo>
                  <a:pt x="840" y="2506"/>
                </a:lnTo>
                <a:lnTo>
                  <a:pt x="842" y="2527"/>
                </a:lnTo>
                <a:lnTo>
                  <a:pt x="848" y="2547"/>
                </a:lnTo>
                <a:lnTo>
                  <a:pt x="858" y="2566"/>
                </a:lnTo>
                <a:lnTo>
                  <a:pt x="871" y="2582"/>
                </a:lnTo>
                <a:lnTo>
                  <a:pt x="1058" y="2766"/>
                </a:lnTo>
                <a:lnTo>
                  <a:pt x="1014" y="3024"/>
                </a:lnTo>
                <a:lnTo>
                  <a:pt x="1013" y="3034"/>
                </a:lnTo>
                <a:lnTo>
                  <a:pt x="1013" y="3043"/>
                </a:lnTo>
                <a:lnTo>
                  <a:pt x="1016" y="3068"/>
                </a:lnTo>
                <a:lnTo>
                  <a:pt x="1025" y="3090"/>
                </a:lnTo>
                <a:lnTo>
                  <a:pt x="1038" y="3111"/>
                </a:lnTo>
                <a:lnTo>
                  <a:pt x="1056" y="3128"/>
                </a:lnTo>
                <a:lnTo>
                  <a:pt x="1075" y="3139"/>
                </a:lnTo>
                <a:lnTo>
                  <a:pt x="1096" y="3146"/>
                </a:lnTo>
                <a:lnTo>
                  <a:pt x="1117" y="3148"/>
                </a:lnTo>
                <a:lnTo>
                  <a:pt x="1133" y="3147"/>
                </a:lnTo>
                <a:lnTo>
                  <a:pt x="1151" y="3143"/>
                </a:lnTo>
                <a:lnTo>
                  <a:pt x="1167" y="3136"/>
                </a:lnTo>
                <a:lnTo>
                  <a:pt x="1398" y="3014"/>
                </a:lnTo>
                <a:lnTo>
                  <a:pt x="1629" y="3136"/>
                </a:lnTo>
                <a:lnTo>
                  <a:pt x="1646" y="3143"/>
                </a:lnTo>
                <a:lnTo>
                  <a:pt x="1662" y="3147"/>
                </a:lnTo>
                <a:lnTo>
                  <a:pt x="1679" y="3148"/>
                </a:lnTo>
                <a:lnTo>
                  <a:pt x="1700" y="3146"/>
                </a:lnTo>
                <a:lnTo>
                  <a:pt x="1721" y="3139"/>
                </a:lnTo>
                <a:lnTo>
                  <a:pt x="1740" y="3128"/>
                </a:lnTo>
                <a:lnTo>
                  <a:pt x="1757" y="3111"/>
                </a:lnTo>
                <a:lnTo>
                  <a:pt x="1771" y="3090"/>
                </a:lnTo>
                <a:lnTo>
                  <a:pt x="1779" y="3068"/>
                </a:lnTo>
                <a:lnTo>
                  <a:pt x="1783" y="3043"/>
                </a:lnTo>
                <a:lnTo>
                  <a:pt x="1783" y="3034"/>
                </a:lnTo>
                <a:lnTo>
                  <a:pt x="1782" y="3024"/>
                </a:lnTo>
                <a:lnTo>
                  <a:pt x="1736" y="2766"/>
                </a:lnTo>
                <a:lnTo>
                  <a:pt x="1925" y="2582"/>
                </a:lnTo>
                <a:lnTo>
                  <a:pt x="1938" y="2566"/>
                </a:lnTo>
                <a:lnTo>
                  <a:pt x="1949" y="2546"/>
                </a:lnTo>
                <a:lnTo>
                  <a:pt x="1954" y="2527"/>
                </a:lnTo>
                <a:lnTo>
                  <a:pt x="1957" y="2506"/>
                </a:lnTo>
                <a:lnTo>
                  <a:pt x="1955" y="2490"/>
                </a:lnTo>
                <a:lnTo>
                  <a:pt x="1951" y="2475"/>
                </a:lnTo>
                <a:lnTo>
                  <a:pt x="1941" y="2454"/>
                </a:lnTo>
                <a:lnTo>
                  <a:pt x="1927" y="2435"/>
                </a:lnTo>
                <a:lnTo>
                  <a:pt x="1910" y="2420"/>
                </a:lnTo>
                <a:lnTo>
                  <a:pt x="1890" y="2408"/>
                </a:lnTo>
                <a:lnTo>
                  <a:pt x="1867" y="2403"/>
                </a:lnTo>
                <a:lnTo>
                  <a:pt x="1608" y="2365"/>
                </a:lnTo>
                <a:lnTo>
                  <a:pt x="1491" y="2129"/>
                </a:lnTo>
                <a:lnTo>
                  <a:pt x="1479" y="2110"/>
                </a:lnTo>
                <a:lnTo>
                  <a:pt x="1463" y="2093"/>
                </a:lnTo>
                <a:lnTo>
                  <a:pt x="1443" y="2081"/>
                </a:lnTo>
                <a:lnTo>
                  <a:pt x="1422" y="2073"/>
                </a:lnTo>
                <a:lnTo>
                  <a:pt x="1398" y="2071"/>
                </a:lnTo>
                <a:lnTo>
                  <a:pt x="1398" y="2071"/>
                </a:lnTo>
                <a:close/>
                <a:moveTo>
                  <a:pt x="1398" y="1455"/>
                </a:moveTo>
                <a:lnTo>
                  <a:pt x="1398" y="1455"/>
                </a:lnTo>
                <a:lnTo>
                  <a:pt x="1487" y="1459"/>
                </a:lnTo>
                <a:lnTo>
                  <a:pt x="1576" y="1469"/>
                </a:lnTo>
                <a:lnTo>
                  <a:pt x="1662" y="1486"/>
                </a:lnTo>
                <a:lnTo>
                  <a:pt x="1745" y="1509"/>
                </a:lnTo>
                <a:lnTo>
                  <a:pt x="1825" y="1539"/>
                </a:lnTo>
                <a:lnTo>
                  <a:pt x="1902" y="1573"/>
                </a:lnTo>
                <a:lnTo>
                  <a:pt x="1977" y="1613"/>
                </a:lnTo>
                <a:lnTo>
                  <a:pt x="2049" y="1658"/>
                </a:lnTo>
                <a:lnTo>
                  <a:pt x="2116" y="1709"/>
                </a:lnTo>
                <a:lnTo>
                  <a:pt x="2179" y="1765"/>
                </a:lnTo>
                <a:lnTo>
                  <a:pt x="2238" y="1824"/>
                </a:lnTo>
                <a:lnTo>
                  <a:pt x="2292" y="1888"/>
                </a:lnTo>
                <a:lnTo>
                  <a:pt x="2344" y="1955"/>
                </a:lnTo>
                <a:lnTo>
                  <a:pt x="2388" y="2027"/>
                </a:lnTo>
                <a:lnTo>
                  <a:pt x="2429" y="2101"/>
                </a:lnTo>
                <a:lnTo>
                  <a:pt x="2463" y="2180"/>
                </a:lnTo>
                <a:lnTo>
                  <a:pt x="2491" y="2261"/>
                </a:lnTo>
                <a:lnTo>
                  <a:pt x="2515" y="2345"/>
                </a:lnTo>
                <a:lnTo>
                  <a:pt x="2531" y="2430"/>
                </a:lnTo>
                <a:lnTo>
                  <a:pt x="2541" y="2519"/>
                </a:lnTo>
                <a:lnTo>
                  <a:pt x="2545" y="2610"/>
                </a:lnTo>
                <a:lnTo>
                  <a:pt x="2541" y="2699"/>
                </a:lnTo>
                <a:lnTo>
                  <a:pt x="2531" y="2788"/>
                </a:lnTo>
                <a:lnTo>
                  <a:pt x="2515" y="2873"/>
                </a:lnTo>
                <a:lnTo>
                  <a:pt x="2491" y="2958"/>
                </a:lnTo>
                <a:lnTo>
                  <a:pt x="2463" y="3039"/>
                </a:lnTo>
                <a:lnTo>
                  <a:pt x="2429" y="3116"/>
                </a:lnTo>
                <a:lnTo>
                  <a:pt x="2388" y="3191"/>
                </a:lnTo>
                <a:lnTo>
                  <a:pt x="2344" y="3263"/>
                </a:lnTo>
                <a:lnTo>
                  <a:pt x="2292" y="3330"/>
                </a:lnTo>
                <a:lnTo>
                  <a:pt x="2238" y="3394"/>
                </a:lnTo>
                <a:lnTo>
                  <a:pt x="2179" y="3454"/>
                </a:lnTo>
                <a:lnTo>
                  <a:pt x="2116" y="3509"/>
                </a:lnTo>
                <a:lnTo>
                  <a:pt x="2049" y="3559"/>
                </a:lnTo>
                <a:lnTo>
                  <a:pt x="1977" y="3605"/>
                </a:lnTo>
                <a:lnTo>
                  <a:pt x="1902" y="3645"/>
                </a:lnTo>
                <a:lnTo>
                  <a:pt x="1825" y="3681"/>
                </a:lnTo>
                <a:lnTo>
                  <a:pt x="1745" y="3709"/>
                </a:lnTo>
                <a:lnTo>
                  <a:pt x="1662" y="3731"/>
                </a:lnTo>
                <a:lnTo>
                  <a:pt x="1576" y="3749"/>
                </a:lnTo>
                <a:lnTo>
                  <a:pt x="1487" y="3759"/>
                </a:lnTo>
                <a:lnTo>
                  <a:pt x="1398" y="3763"/>
                </a:lnTo>
                <a:lnTo>
                  <a:pt x="1309" y="3759"/>
                </a:lnTo>
                <a:lnTo>
                  <a:pt x="1221" y="3749"/>
                </a:lnTo>
                <a:lnTo>
                  <a:pt x="1135" y="3731"/>
                </a:lnTo>
                <a:lnTo>
                  <a:pt x="1052" y="3709"/>
                </a:lnTo>
                <a:lnTo>
                  <a:pt x="971" y="3681"/>
                </a:lnTo>
                <a:lnTo>
                  <a:pt x="894" y="3645"/>
                </a:lnTo>
                <a:lnTo>
                  <a:pt x="819" y="3605"/>
                </a:lnTo>
                <a:lnTo>
                  <a:pt x="747" y="3559"/>
                </a:lnTo>
                <a:lnTo>
                  <a:pt x="681" y="3509"/>
                </a:lnTo>
                <a:lnTo>
                  <a:pt x="617" y="3454"/>
                </a:lnTo>
                <a:lnTo>
                  <a:pt x="558" y="3394"/>
                </a:lnTo>
                <a:lnTo>
                  <a:pt x="503" y="3330"/>
                </a:lnTo>
                <a:lnTo>
                  <a:pt x="453" y="3263"/>
                </a:lnTo>
                <a:lnTo>
                  <a:pt x="408" y="3191"/>
                </a:lnTo>
                <a:lnTo>
                  <a:pt x="367" y="3116"/>
                </a:lnTo>
                <a:lnTo>
                  <a:pt x="333" y="3039"/>
                </a:lnTo>
                <a:lnTo>
                  <a:pt x="305" y="2958"/>
                </a:lnTo>
                <a:lnTo>
                  <a:pt x="281" y="2873"/>
                </a:lnTo>
                <a:lnTo>
                  <a:pt x="265" y="2788"/>
                </a:lnTo>
                <a:lnTo>
                  <a:pt x="254" y="2699"/>
                </a:lnTo>
                <a:lnTo>
                  <a:pt x="251" y="2610"/>
                </a:lnTo>
                <a:lnTo>
                  <a:pt x="254" y="2519"/>
                </a:lnTo>
                <a:lnTo>
                  <a:pt x="265" y="2430"/>
                </a:lnTo>
                <a:lnTo>
                  <a:pt x="281" y="2345"/>
                </a:lnTo>
                <a:lnTo>
                  <a:pt x="305" y="2261"/>
                </a:lnTo>
                <a:lnTo>
                  <a:pt x="333" y="2180"/>
                </a:lnTo>
                <a:lnTo>
                  <a:pt x="367" y="2101"/>
                </a:lnTo>
                <a:lnTo>
                  <a:pt x="408" y="2027"/>
                </a:lnTo>
                <a:lnTo>
                  <a:pt x="453" y="1955"/>
                </a:lnTo>
                <a:lnTo>
                  <a:pt x="503" y="1888"/>
                </a:lnTo>
                <a:lnTo>
                  <a:pt x="558" y="1824"/>
                </a:lnTo>
                <a:lnTo>
                  <a:pt x="617" y="1765"/>
                </a:lnTo>
                <a:lnTo>
                  <a:pt x="681" y="1709"/>
                </a:lnTo>
                <a:lnTo>
                  <a:pt x="747" y="1658"/>
                </a:lnTo>
                <a:lnTo>
                  <a:pt x="819" y="1613"/>
                </a:lnTo>
                <a:lnTo>
                  <a:pt x="894" y="1573"/>
                </a:lnTo>
                <a:lnTo>
                  <a:pt x="971" y="1539"/>
                </a:lnTo>
                <a:lnTo>
                  <a:pt x="1052" y="1509"/>
                </a:lnTo>
                <a:lnTo>
                  <a:pt x="1135" y="1486"/>
                </a:lnTo>
                <a:lnTo>
                  <a:pt x="1221" y="1469"/>
                </a:lnTo>
                <a:lnTo>
                  <a:pt x="1309" y="1459"/>
                </a:lnTo>
                <a:lnTo>
                  <a:pt x="1398" y="145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spcAft>
                <a:spcPts val="600"/>
              </a:spcAft>
            </a:pPr>
            <a:endParaRPr lang="en-US">
              <a:solidFill>
                <a:prstClr val="black"/>
              </a:solidFill>
            </a:endParaRPr>
          </a:p>
        </p:txBody>
      </p:sp>
      <p:sp>
        <p:nvSpPr>
          <p:cNvPr id="61" name="Rectangle 60"/>
          <p:cNvSpPr/>
          <p:nvPr/>
        </p:nvSpPr>
        <p:spPr bwMode="gray">
          <a:xfrm>
            <a:off x="8237641" y="4280333"/>
            <a:ext cx="1828800" cy="1177105"/>
          </a:xfrm>
          <a:prstGeom prst="rect">
            <a:avLst/>
          </a:prstGeom>
          <a:noFill/>
          <a:ln w="38100" algn="ctr">
            <a:solidFill>
              <a:schemeClr val="accent1"/>
            </a:solidFill>
            <a:miter lim="800000"/>
            <a:headEnd/>
            <a:tailEnd/>
          </a:ln>
        </p:spPr>
        <p:txBody>
          <a:bodyPr wrap="square" lIns="88900" tIns="88900" rIns="88900" bIns="88900" rtlCol="0" anchor="t" anchorCtr="0"/>
          <a:lstStyle/>
          <a:p>
            <a:pPr marL="398463" lvl="1" algn="ctr">
              <a:lnSpc>
                <a:spcPct val="106000"/>
              </a:lnSpc>
              <a:spcAft>
                <a:spcPts val="600"/>
              </a:spcAft>
            </a:pPr>
            <a:r>
              <a:rPr lang="en-US" sz="1100" b="1" dirty="0">
                <a:solidFill>
                  <a:srgbClr val="313131"/>
                </a:solidFill>
              </a:rPr>
              <a:t>Industry Hot Topics</a:t>
            </a:r>
          </a:p>
          <a:p>
            <a:pPr marL="0" lvl="1" algn="ctr">
              <a:lnSpc>
                <a:spcPct val="106000"/>
              </a:lnSpc>
              <a:spcAft>
                <a:spcPts val="600"/>
              </a:spcAft>
            </a:pPr>
            <a:r>
              <a:rPr lang="en-US" sz="1100" dirty="0">
                <a:solidFill>
                  <a:srgbClr val="313131"/>
                </a:solidFill>
              </a:rPr>
              <a:t>Linkage with Hot Topics infrastructure currently under development</a:t>
            </a:r>
          </a:p>
        </p:txBody>
      </p:sp>
      <p:sp>
        <p:nvSpPr>
          <p:cNvPr id="63" name="Freeform 24"/>
          <p:cNvSpPr>
            <a:spLocks noChangeAspect="1" noEditPoints="1"/>
          </p:cNvSpPr>
          <p:nvPr/>
        </p:nvSpPr>
        <p:spPr bwMode="auto">
          <a:xfrm>
            <a:off x="8327441" y="4353254"/>
            <a:ext cx="459116" cy="400551"/>
          </a:xfrm>
          <a:custGeom>
            <a:avLst/>
            <a:gdLst>
              <a:gd name="T0" fmla="*/ 197 w 206"/>
              <a:gd name="T1" fmla="*/ 170 h 179"/>
              <a:gd name="T2" fmla="*/ 197 w 206"/>
              <a:gd name="T3" fmla="*/ 71 h 179"/>
              <a:gd name="T4" fmla="*/ 185 w 206"/>
              <a:gd name="T5" fmla="*/ 71 h 179"/>
              <a:gd name="T6" fmla="*/ 185 w 206"/>
              <a:gd name="T7" fmla="*/ 10 h 179"/>
              <a:gd name="T8" fmla="*/ 175 w 206"/>
              <a:gd name="T9" fmla="*/ 0 h 179"/>
              <a:gd name="T10" fmla="*/ 164 w 206"/>
              <a:gd name="T11" fmla="*/ 10 h 179"/>
              <a:gd name="T12" fmla="*/ 164 w 206"/>
              <a:gd name="T13" fmla="*/ 71 h 179"/>
              <a:gd name="T14" fmla="*/ 147 w 206"/>
              <a:gd name="T15" fmla="*/ 71 h 179"/>
              <a:gd name="T16" fmla="*/ 147 w 206"/>
              <a:gd name="T17" fmla="*/ 47 h 179"/>
              <a:gd name="T18" fmla="*/ 110 w 206"/>
              <a:gd name="T19" fmla="*/ 71 h 179"/>
              <a:gd name="T20" fmla="*/ 105 w 206"/>
              <a:gd name="T21" fmla="*/ 71 h 179"/>
              <a:gd name="T22" fmla="*/ 105 w 206"/>
              <a:gd name="T23" fmla="*/ 47 h 179"/>
              <a:gd name="T24" fmla="*/ 68 w 206"/>
              <a:gd name="T25" fmla="*/ 71 h 179"/>
              <a:gd name="T26" fmla="*/ 65 w 206"/>
              <a:gd name="T27" fmla="*/ 71 h 179"/>
              <a:gd name="T28" fmla="*/ 65 w 206"/>
              <a:gd name="T29" fmla="*/ 47 h 179"/>
              <a:gd name="T30" fmla="*/ 28 w 206"/>
              <a:gd name="T31" fmla="*/ 71 h 179"/>
              <a:gd name="T32" fmla="*/ 10 w 206"/>
              <a:gd name="T33" fmla="*/ 71 h 179"/>
              <a:gd name="T34" fmla="*/ 10 w 206"/>
              <a:gd name="T35" fmla="*/ 170 h 179"/>
              <a:gd name="T36" fmla="*/ 0 w 206"/>
              <a:gd name="T37" fmla="*/ 170 h 179"/>
              <a:gd name="T38" fmla="*/ 0 w 206"/>
              <a:gd name="T39" fmla="*/ 179 h 179"/>
              <a:gd name="T40" fmla="*/ 206 w 206"/>
              <a:gd name="T41" fmla="*/ 179 h 179"/>
              <a:gd name="T42" fmla="*/ 206 w 206"/>
              <a:gd name="T43" fmla="*/ 170 h 179"/>
              <a:gd name="T44" fmla="*/ 197 w 206"/>
              <a:gd name="T45" fmla="*/ 170 h 179"/>
              <a:gd name="T46" fmla="*/ 72 w 206"/>
              <a:gd name="T47" fmla="*/ 145 h 179"/>
              <a:gd name="T48" fmla="*/ 46 w 206"/>
              <a:gd name="T49" fmla="*/ 145 h 179"/>
              <a:gd name="T50" fmla="*/ 46 w 206"/>
              <a:gd name="T51" fmla="*/ 129 h 179"/>
              <a:gd name="T52" fmla="*/ 72 w 206"/>
              <a:gd name="T53" fmla="*/ 129 h 179"/>
              <a:gd name="T54" fmla="*/ 72 w 206"/>
              <a:gd name="T55" fmla="*/ 145 h 179"/>
              <a:gd name="T56" fmla="*/ 72 w 206"/>
              <a:gd name="T57" fmla="*/ 114 h 179"/>
              <a:gd name="T58" fmla="*/ 46 w 206"/>
              <a:gd name="T59" fmla="*/ 114 h 179"/>
              <a:gd name="T60" fmla="*/ 46 w 206"/>
              <a:gd name="T61" fmla="*/ 98 h 179"/>
              <a:gd name="T62" fmla="*/ 72 w 206"/>
              <a:gd name="T63" fmla="*/ 98 h 179"/>
              <a:gd name="T64" fmla="*/ 72 w 206"/>
              <a:gd name="T65" fmla="*/ 114 h 179"/>
              <a:gd name="T66" fmla="*/ 117 w 206"/>
              <a:gd name="T67" fmla="*/ 145 h 179"/>
              <a:gd name="T68" fmla="*/ 90 w 206"/>
              <a:gd name="T69" fmla="*/ 145 h 179"/>
              <a:gd name="T70" fmla="*/ 90 w 206"/>
              <a:gd name="T71" fmla="*/ 129 h 179"/>
              <a:gd name="T72" fmla="*/ 117 w 206"/>
              <a:gd name="T73" fmla="*/ 129 h 179"/>
              <a:gd name="T74" fmla="*/ 117 w 206"/>
              <a:gd name="T75" fmla="*/ 145 h 179"/>
              <a:gd name="T76" fmla="*/ 117 w 206"/>
              <a:gd name="T77" fmla="*/ 114 h 179"/>
              <a:gd name="T78" fmla="*/ 90 w 206"/>
              <a:gd name="T79" fmla="*/ 114 h 179"/>
              <a:gd name="T80" fmla="*/ 90 w 206"/>
              <a:gd name="T81" fmla="*/ 98 h 179"/>
              <a:gd name="T82" fmla="*/ 117 w 206"/>
              <a:gd name="T83" fmla="*/ 98 h 179"/>
              <a:gd name="T84" fmla="*/ 117 w 206"/>
              <a:gd name="T85" fmla="*/ 114 h 179"/>
              <a:gd name="T86" fmla="*/ 161 w 206"/>
              <a:gd name="T87" fmla="*/ 145 h 179"/>
              <a:gd name="T88" fmla="*/ 134 w 206"/>
              <a:gd name="T89" fmla="*/ 145 h 179"/>
              <a:gd name="T90" fmla="*/ 134 w 206"/>
              <a:gd name="T91" fmla="*/ 129 h 179"/>
              <a:gd name="T92" fmla="*/ 161 w 206"/>
              <a:gd name="T93" fmla="*/ 129 h 179"/>
              <a:gd name="T94" fmla="*/ 161 w 206"/>
              <a:gd name="T95" fmla="*/ 145 h 179"/>
              <a:gd name="T96" fmla="*/ 161 w 206"/>
              <a:gd name="T97" fmla="*/ 114 h 179"/>
              <a:gd name="T98" fmla="*/ 134 w 206"/>
              <a:gd name="T99" fmla="*/ 114 h 179"/>
              <a:gd name="T100" fmla="*/ 134 w 206"/>
              <a:gd name="T101" fmla="*/ 98 h 179"/>
              <a:gd name="T102" fmla="*/ 161 w 206"/>
              <a:gd name="T103" fmla="*/ 98 h 179"/>
              <a:gd name="T104" fmla="*/ 161 w 206"/>
              <a:gd name="T105"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179">
                <a:moveTo>
                  <a:pt x="197" y="170"/>
                </a:moveTo>
                <a:cubicBezTo>
                  <a:pt x="197" y="71"/>
                  <a:pt x="197" y="71"/>
                  <a:pt x="197" y="71"/>
                </a:cubicBezTo>
                <a:cubicBezTo>
                  <a:pt x="185" y="71"/>
                  <a:pt x="185" y="71"/>
                  <a:pt x="185" y="71"/>
                </a:cubicBezTo>
                <a:cubicBezTo>
                  <a:pt x="185" y="10"/>
                  <a:pt x="185" y="10"/>
                  <a:pt x="185" y="10"/>
                </a:cubicBezTo>
                <a:cubicBezTo>
                  <a:pt x="185" y="4"/>
                  <a:pt x="180" y="0"/>
                  <a:pt x="175" y="0"/>
                </a:cubicBezTo>
                <a:cubicBezTo>
                  <a:pt x="169" y="0"/>
                  <a:pt x="164" y="4"/>
                  <a:pt x="164" y="10"/>
                </a:cubicBezTo>
                <a:cubicBezTo>
                  <a:pt x="164" y="71"/>
                  <a:pt x="164" y="71"/>
                  <a:pt x="164" y="71"/>
                </a:cubicBezTo>
                <a:cubicBezTo>
                  <a:pt x="147" y="71"/>
                  <a:pt x="147" y="71"/>
                  <a:pt x="147" y="71"/>
                </a:cubicBezTo>
                <a:cubicBezTo>
                  <a:pt x="147" y="47"/>
                  <a:pt x="147" y="47"/>
                  <a:pt x="147" y="47"/>
                </a:cubicBezTo>
                <a:cubicBezTo>
                  <a:pt x="110" y="71"/>
                  <a:pt x="110" y="71"/>
                  <a:pt x="110" y="71"/>
                </a:cubicBezTo>
                <a:cubicBezTo>
                  <a:pt x="105" y="71"/>
                  <a:pt x="105" y="71"/>
                  <a:pt x="105" y="71"/>
                </a:cubicBezTo>
                <a:cubicBezTo>
                  <a:pt x="105" y="47"/>
                  <a:pt x="105" y="47"/>
                  <a:pt x="105" y="47"/>
                </a:cubicBezTo>
                <a:cubicBezTo>
                  <a:pt x="68" y="71"/>
                  <a:pt x="68" y="71"/>
                  <a:pt x="68" y="71"/>
                </a:cubicBezTo>
                <a:cubicBezTo>
                  <a:pt x="65" y="71"/>
                  <a:pt x="65" y="71"/>
                  <a:pt x="65" y="71"/>
                </a:cubicBezTo>
                <a:cubicBezTo>
                  <a:pt x="65" y="47"/>
                  <a:pt x="65" y="47"/>
                  <a:pt x="65" y="47"/>
                </a:cubicBezTo>
                <a:cubicBezTo>
                  <a:pt x="28" y="71"/>
                  <a:pt x="28" y="71"/>
                  <a:pt x="28" y="71"/>
                </a:cubicBezTo>
                <a:cubicBezTo>
                  <a:pt x="10" y="71"/>
                  <a:pt x="10" y="71"/>
                  <a:pt x="10" y="71"/>
                </a:cubicBezTo>
                <a:cubicBezTo>
                  <a:pt x="10" y="170"/>
                  <a:pt x="10" y="170"/>
                  <a:pt x="10" y="170"/>
                </a:cubicBezTo>
                <a:cubicBezTo>
                  <a:pt x="0" y="170"/>
                  <a:pt x="0" y="170"/>
                  <a:pt x="0" y="170"/>
                </a:cubicBezTo>
                <a:cubicBezTo>
                  <a:pt x="0" y="179"/>
                  <a:pt x="0" y="179"/>
                  <a:pt x="0" y="179"/>
                </a:cubicBezTo>
                <a:cubicBezTo>
                  <a:pt x="206" y="179"/>
                  <a:pt x="206" y="179"/>
                  <a:pt x="206" y="179"/>
                </a:cubicBezTo>
                <a:cubicBezTo>
                  <a:pt x="206" y="170"/>
                  <a:pt x="206" y="170"/>
                  <a:pt x="206" y="170"/>
                </a:cubicBezTo>
                <a:lnTo>
                  <a:pt x="197" y="170"/>
                </a:lnTo>
                <a:close/>
                <a:moveTo>
                  <a:pt x="72" y="145"/>
                </a:moveTo>
                <a:cubicBezTo>
                  <a:pt x="46" y="145"/>
                  <a:pt x="46" y="145"/>
                  <a:pt x="46" y="145"/>
                </a:cubicBezTo>
                <a:cubicBezTo>
                  <a:pt x="46" y="129"/>
                  <a:pt x="46" y="129"/>
                  <a:pt x="46" y="129"/>
                </a:cubicBezTo>
                <a:cubicBezTo>
                  <a:pt x="72" y="129"/>
                  <a:pt x="72" y="129"/>
                  <a:pt x="72" y="129"/>
                </a:cubicBezTo>
                <a:lnTo>
                  <a:pt x="72" y="145"/>
                </a:lnTo>
                <a:close/>
                <a:moveTo>
                  <a:pt x="72" y="114"/>
                </a:moveTo>
                <a:cubicBezTo>
                  <a:pt x="46" y="114"/>
                  <a:pt x="46" y="114"/>
                  <a:pt x="46" y="114"/>
                </a:cubicBezTo>
                <a:cubicBezTo>
                  <a:pt x="46" y="98"/>
                  <a:pt x="46" y="98"/>
                  <a:pt x="46" y="98"/>
                </a:cubicBezTo>
                <a:cubicBezTo>
                  <a:pt x="72" y="98"/>
                  <a:pt x="72" y="98"/>
                  <a:pt x="72" y="98"/>
                </a:cubicBezTo>
                <a:lnTo>
                  <a:pt x="72" y="114"/>
                </a:lnTo>
                <a:close/>
                <a:moveTo>
                  <a:pt x="117" y="145"/>
                </a:moveTo>
                <a:cubicBezTo>
                  <a:pt x="90" y="145"/>
                  <a:pt x="90" y="145"/>
                  <a:pt x="90" y="145"/>
                </a:cubicBezTo>
                <a:cubicBezTo>
                  <a:pt x="90" y="129"/>
                  <a:pt x="90" y="129"/>
                  <a:pt x="90" y="129"/>
                </a:cubicBezTo>
                <a:cubicBezTo>
                  <a:pt x="117" y="129"/>
                  <a:pt x="117" y="129"/>
                  <a:pt x="117" y="129"/>
                </a:cubicBezTo>
                <a:lnTo>
                  <a:pt x="117" y="145"/>
                </a:lnTo>
                <a:close/>
                <a:moveTo>
                  <a:pt x="117" y="114"/>
                </a:moveTo>
                <a:cubicBezTo>
                  <a:pt x="90" y="114"/>
                  <a:pt x="90" y="114"/>
                  <a:pt x="90" y="114"/>
                </a:cubicBezTo>
                <a:cubicBezTo>
                  <a:pt x="90" y="98"/>
                  <a:pt x="90" y="98"/>
                  <a:pt x="90" y="98"/>
                </a:cubicBezTo>
                <a:cubicBezTo>
                  <a:pt x="117" y="98"/>
                  <a:pt x="117" y="98"/>
                  <a:pt x="117" y="98"/>
                </a:cubicBezTo>
                <a:lnTo>
                  <a:pt x="117" y="114"/>
                </a:lnTo>
                <a:close/>
                <a:moveTo>
                  <a:pt x="161" y="145"/>
                </a:moveTo>
                <a:cubicBezTo>
                  <a:pt x="134" y="145"/>
                  <a:pt x="134" y="145"/>
                  <a:pt x="134" y="145"/>
                </a:cubicBezTo>
                <a:cubicBezTo>
                  <a:pt x="134" y="129"/>
                  <a:pt x="134" y="129"/>
                  <a:pt x="134" y="129"/>
                </a:cubicBezTo>
                <a:cubicBezTo>
                  <a:pt x="161" y="129"/>
                  <a:pt x="161" y="129"/>
                  <a:pt x="161" y="129"/>
                </a:cubicBezTo>
                <a:lnTo>
                  <a:pt x="161" y="145"/>
                </a:lnTo>
                <a:close/>
                <a:moveTo>
                  <a:pt x="161" y="114"/>
                </a:moveTo>
                <a:cubicBezTo>
                  <a:pt x="134" y="114"/>
                  <a:pt x="134" y="114"/>
                  <a:pt x="134" y="114"/>
                </a:cubicBezTo>
                <a:cubicBezTo>
                  <a:pt x="134" y="98"/>
                  <a:pt x="134" y="98"/>
                  <a:pt x="134" y="98"/>
                </a:cubicBezTo>
                <a:cubicBezTo>
                  <a:pt x="161" y="98"/>
                  <a:pt x="161" y="98"/>
                  <a:pt x="161" y="98"/>
                </a:cubicBezTo>
                <a:lnTo>
                  <a:pt x="161" y="11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spcAft>
                <a:spcPts val="600"/>
              </a:spcAft>
            </a:pPr>
            <a:endParaRPr lang="en-US" dirty="0">
              <a:solidFill>
                <a:prstClr val="black"/>
              </a:solidFill>
            </a:endParaRPr>
          </a:p>
        </p:txBody>
      </p:sp>
      <p:sp>
        <p:nvSpPr>
          <p:cNvPr id="58" name="Rectangle 57"/>
          <p:cNvSpPr/>
          <p:nvPr/>
        </p:nvSpPr>
        <p:spPr bwMode="gray">
          <a:xfrm>
            <a:off x="4100524" y="4280333"/>
            <a:ext cx="1828800" cy="1177105"/>
          </a:xfrm>
          <a:prstGeom prst="rect">
            <a:avLst/>
          </a:prstGeom>
          <a:noFill/>
          <a:ln w="38100" algn="ctr">
            <a:solidFill>
              <a:schemeClr val="accent1"/>
            </a:solidFill>
            <a:miter lim="800000"/>
            <a:headEnd/>
            <a:tailEnd/>
          </a:ln>
        </p:spPr>
        <p:txBody>
          <a:bodyPr wrap="square" lIns="88900" tIns="88900" rIns="88900" bIns="88900" rtlCol="0" anchor="t" anchorCtr="0"/>
          <a:lstStyle/>
          <a:p>
            <a:pPr marL="398463" lvl="1" algn="ctr">
              <a:lnSpc>
                <a:spcPct val="106000"/>
              </a:lnSpc>
              <a:spcAft>
                <a:spcPts val="600"/>
              </a:spcAft>
            </a:pPr>
            <a:r>
              <a:rPr lang="en-US" sz="1100" b="1" dirty="0">
                <a:solidFill>
                  <a:srgbClr val="313131"/>
                </a:solidFill>
              </a:rPr>
              <a:t>On-Demand Videos</a:t>
            </a:r>
          </a:p>
          <a:p>
            <a:pPr marL="0" lvl="1" algn="ctr">
              <a:lnSpc>
                <a:spcPct val="106000"/>
              </a:lnSpc>
              <a:spcAft>
                <a:spcPts val="600"/>
              </a:spcAft>
            </a:pPr>
            <a:r>
              <a:rPr lang="en-US" sz="1100" dirty="0">
                <a:solidFill>
                  <a:srgbClr val="313131"/>
                </a:solidFill>
              </a:rPr>
              <a:t>Short videos featuring experts discussing high priority technical topics</a:t>
            </a:r>
          </a:p>
        </p:txBody>
      </p:sp>
      <p:sp>
        <p:nvSpPr>
          <p:cNvPr id="64" name="Freeform 58"/>
          <p:cNvSpPr>
            <a:spLocks noChangeAspect="1" noEditPoints="1"/>
          </p:cNvSpPr>
          <p:nvPr/>
        </p:nvSpPr>
        <p:spPr bwMode="auto">
          <a:xfrm>
            <a:off x="4185643" y="4353745"/>
            <a:ext cx="390721" cy="400551"/>
          </a:xfrm>
          <a:custGeom>
            <a:avLst/>
            <a:gdLst>
              <a:gd name="T0" fmla="*/ 28 w 151"/>
              <a:gd name="T1" fmla="*/ 65 h 154"/>
              <a:gd name="T2" fmla="*/ 28 w 151"/>
              <a:gd name="T3" fmla="*/ 63 h 154"/>
              <a:gd name="T4" fmla="*/ 27 w 151"/>
              <a:gd name="T5" fmla="*/ 58 h 154"/>
              <a:gd name="T6" fmla="*/ 148 w 151"/>
              <a:gd name="T7" fmla="*/ 33 h 154"/>
              <a:gd name="T8" fmla="*/ 114 w 151"/>
              <a:gd name="T9" fmla="*/ 11 h 154"/>
              <a:gd name="T10" fmla="*/ 9 w 151"/>
              <a:gd name="T11" fmla="*/ 36 h 154"/>
              <a:gd name="T12" fmla="*/ 4 w 151"/>
              <a:gd name="T13" fmla="*/ 58 h 154"/>
              <a:gd name="T14" fmla="*/ 3 w 151"/>
              <a:gd name="T15" fmla="*/ 63 h 154"/>
              <a:gd name="T16" fmla="*/ 7 w 151"/>
              <a:gd name="T17" fmla="*/ 73 h 154"/>
              <a:gd name="T18" fmla="*/ 7 w 151"/>
              <a:gd name="T19" fmla="*/ 89 h 154"/>
              <a:gd name="T20" fmla="*/ 7 w 151"/>
              <a:gd name="T21" fmla="*/ 90 h 154"/>
              <a:gd name="T22" fmla="*/ 7 w 151"/>
              <a:gd name="T23" fmla="*/ 131 h 154"/>
              <a:gd name="T24" fmla="*/ 30 w 151"/>
              <a:gd name="T25" fmla="*/ 154 h 154"/>
              <a:gd name="T26" fmla="*/ 127 w 151"/>
              <a:gd name="T27" fmla="*/ 154 h 154"/>
              <a:gd name="T28" fmla="*/ 151 w 151"/>
              <a:gd name="T29" fmla="*/ 131 h 154"/>
              <a:gd name="T30" fmla="*/ 151 w 151"/>
              <a:gd name="T31" fmla="*/ 89 h 154"/>
              <a:gd name="T32" fmla="*/ 151 w 151"/>
              <a:gd name="T33" fmla="*/ 65 h 154"/>
              <a:gd name="T34" fmla="*/ 28 w 151"/>
              <a:gd name="T35" fmla="*/ 65 h 154"/>
              <a:gd name="T36" fmla="*/ 125 w 151"/>
              <a:gd name="T37" fmla="*/ 17 h 154"/>
              <a:gd name="T38" fmla="*/ 134 w 151"/>
              <a:gd name="T39" fmla="*/ 24 h 154"/>
              <a:gd name="T40" fmla="*/ 118 w 151"/>
              <a:gd name="T41" fmla="*/ 27 h 154"/>
              <a:gd name="T42" fmla="*/ 108 w 151"/>
              <a:gd name="T43" fmla="*/ 19 h 154"/>
              <a:gd name="T44" fmla="*/ 125 w 151"/>
              <a:gd name="T45" fmla="*/ 17 h 154"/>
              <a:gd name="T46" fmla="*/ 90 w 151"/>
              <a:gd name="T47" fmla="*/ 25 h 154"/>
              <a:gd name="T48" fmla="*/ 99 w 151"/>
              <a:gd name="T49" fmla="*/ 33 h 154"/>
              <a:gd name="T50" fmla="*/ 83 w 151"/>
              <a:gd name="T51" fmla="*/ 36 h 154"/>
              <a:gd name="T52" fmla="*/ 73 w 151"/>
              <a:gd name="T53" fmla="*/ 28 h 154"/>
              <a:gd name="T54" fmla="*/ 90 w 151"/>
              <a:gd name="T55" fmla="*/ 25 h 154"/>
              <a:gd name="T56" fmla="*/ 16 w 151"/>
              <a:gd name="T57" fmla="*/ 72 h 154"/>
              <a:gd name="T58" fmla="*/ 7 w 151"/>
              <a:gd name="T59" fmla="*/ 63 h 154"/>
              <a:gd name="T60" fmla="*/ 16 w 151"/>
              <a:gd name="T61" fmla="*/ 55 h 154"/>
              <a:gd name="T62" fmla="*/ 24 w 151"/>
              <a:gd name="T63" fmla="*/ 63 h 154"/>
              <a:gd name="T64" fmla="*/ 16 w 151"/>
              <a:gd name="T65" fmla="*/ 72 h 154"/>
              <a:gd name="T66" fmla="*/ 86 w 151"/>
              <a:gd name="T67" fmla="*/ 74 h 154"/>
              <a:gd name="T68" fmla="*/ 103 w 151"/>
              <a:gd name="T69" fmla="*/ 74 h 154"/>
              <a:gd name="T70" fmla="*/ 92 w 151"/>
              <a:gd name="T71" fmla="*/ 86 h 154"/>
              <a:gd name="T72" fmla="*/ 75 w 151"/>
              <a:gd name="T73" fmla="*/ 86 h 154"/>
              <a:gd name="T74" fmla="*/ 86 w 151"/>
              <a:gd name="T75" fmla="*/ 74 h 154"/>
              <a:gd name="T76" fmla="*/ 47 w 151"/>
              <a:gd name="T77" fmla="*/ 74 h 154"/>
              <a:gd name="T78" fmla="*/ 63 w 151"/>
              <a:gd name="T79" fmla="*/ 74 h 154"/>
              <a:gd name="T80" fmla="*/ 53 w 151"/>
              <a:gd name="T81" fmla="*/ 86 h 154"/>
              <a:gd name="T82" fmla="*/ 36 w 151"/>
              <a:gd name="T83" fmla="*/ 86 h 154"/>
              <a:gd name="T84" fmla="*/ 47 w 151"/>
              <a:gd name="T85" fmla="*/ 74 h 154"/>
              <a:gd name="T86" fmla="*/ 129 w 151"/>
              <a:gd name="T87" fmla="*/ 86 h 154"/>
              <a:gd name="T88" fmla="*/ 112 w 151"/>
              <a:gd name="T89" fmla="*/ 86 h 154"/>
              <a:gd name="T90" fmla="*/ 123 w 151"/>
              <a:gd name="T91" fmla="*/ 74 h 154"/>
              <a:gd name="T92" fmla="*/ 139 w 151"/>
              <a:gd name="T93" fmla="*/ 74 h 154"/>
              <a:gd name="T94" fmla="*/ 129 w 151"/>
              <a:gd name="T95" fmla="*/ 86 h 154"/>
              <a:gd name="T96" fmla="*/ 51 w 151"/>
              <a:gd name="T97" fmla="*/ 33 h 154"/>
              <a:gd name="T98" fmla="*/ 61 w 151"/>
              <a:gd name="T99" fmla="*/ 41 h 154"/>
              <a:gd name="T100" fmla="*/ 45 w 151"/>
              <a:gd name="T101" fmla="*/ 44 h 154"/>
              <a:gd name="T102" fmla="*/ 35 w 151"/>
              <a:gd name="T103" fmla="*/ 36 h 154"/>
              <a:gd name="T104" fmla="*/ 51 w 151"/>
              <a:gd name="T105" fmla="*/ 3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154">
                <a:moveTo>
                  <a:pt x="28" y="65"/>
                </a:moveTo>
                <a:cubicBezTo>
                  <a:pt x="28" y="64"/>
                  <a:pt x="28" y="64"/>
                  <a:pt x="28" y="63"/>
                </a:cubicBezTo>
                <a:cubicBezTo>
                  <a:pt x="28" y="62"/>
                  <a:pt x="28" y="60"/>
                  <a:pt x="27" y="58"/>
                </a:cubicBezTo>
                <a:cubicBezTo>
                  <a:pt x="148" y="33"/>
                  <a:pt x="148" y="33"/>
                  <a:pt x="148" y="33"/>
                </a:cubicBezTo>
                <a:cubicBezTo>
                  <a:pt x="148" y="0"/>
                  <a:pt x="115" y="11"/>
                  <a:pt x="114" y="11"/>
                </a:cubicBezTo>
                <a:cubicBezTo>
                  <a:pt x="113" y="11"/>
                  <a:pt x="24" y="26"/>
                  <a:pt x="9" y="36"/>
                </a:cubicBezTo>
                <a:cubicBezTo>
                  <a:pt x="0" y="42"/>
                  <a:pt x="2" y="52"/>
                  <a:pt x="4" y="58"/>
                </a:cubicBezTo>
                <a:cubicBezTo>
                  <a:pt x="3" y="59"/>
                  <a:pt x="3" y="61"/>
                  <a:pt x="3" y="63"/>
                </a:cubicBezTo>
                <a:cubicBezTo>
                  <a:pt x="3" y="67"/>
                  <a:pt x="4" y="70"/>
                  <a:pt x="7" y="73"/>
                </a:cubicBezTo>
                <a:cubicBezTo>
                  <a:pt x="7" y="89"/>
                  <a:pt x="7" y="89"/>
                  <a:pt x="7" y="89"/>
                </a:cubicBezTo>
                <a:cubicBezTo>
                  <a:pt x="7" y="90"/>
                  <a:pt x="7" y="90"/>
                  <a:pt x="7" y="90"/>
                </a:cubicBezTo>
                <a:cubicBezTo>
                  <a:pt x="7" y="131"/>
                  <a:pt x="7" y="131"/>
                  <a:pt x="7" y="131"/>
                </a:cubicBezTo>
                <a:cubicBezTo>
                  <a:pt x="7" y="144"/>
                  <a:pt x="17" y="154"/>
                  <a:pt x="30" y="154"/>
                </a:cubicBezTo>
                <a:cubicBezTo>
                  <a:pt x="127" y="154"/>
                  <a:pt x="127" y="154"/>
                  <a:pt x="127" y="154"/>
                </a:cubicBezTo>
                <a:cubicBezTo>
                  <a:pt x="140" y="154"/>
                  <a:pt x="151" y="144"/>
                  <a:pt x="151" y="131"/>
                </a:cubicBezTo>
                <a:cubicBezTo>
                  <a:pt x="151" y="89"/>
                  <a:pt x="151" y="89"/>
                  <a:pt x="151" y="89"/>
                </a:cubicBezTo>
                <a:cubicBezTo>
                  <a:pt x="151" y="87"/>
                  <a:pt x="151" y="65"/>
                  <a:pt x="151" y="65"/>
                </a:cubicBezTo>
                <a:lnTo>
                  <a:pt x="28" y="65"/>
                </a:lnTo>
                <a:close/>
                <a:moveTo>
                  <a:pt x="125" y="17"/>
                </a:moveTo>
                <a:cubicBezTo>
                  <a:pt x="134" y="24"/>
                  <a:pt x="134" y="24"/>
                  <a:pt x="134" y="24"/>
                </a:cubicBezTo>
                <a:cubicBezTo>
                  <a:pt x="118" y="27"/>
                  <a:pt x="118" y="27"/>
                  <a:pt x="118" y="27"/>
                </a:cubicBezTo>
                <a:cubicBezTo>
                  <a:pt x="108" y="19"/>
                  <a:pt x="108" y="19"/>
                  <a:pt x="108" y="19"/>
                </a:cubicBezTo>
                <a:lnTo>
                  <a:pt x="125" y="17"/>
                </a:lnTo>
                <a:close/>
                <a:moveTo>
                  <a:pt x="90" y="25"/>
                </a:moveTo>
                <a:cubicBezTo>
                  <a:pt x="99" y="33"/>
                  <a:pt x="99" y="33"/>
                  <a:pt x="99" y="33"/>
                </a:cubicBezTo>
                <a:cubicBezTo>
                  <a:pt x="83" y="36"/>
                  <a:pt x="83" y="36"/>
                  <a:pt x="83" y="36"/>
                </a:cubicBezTo>
                <a:cubicBezTo>
                  <a:pt x="73" y="28"/>
                  <a:pt x="73" y="28"/>
                  <a:pt x="73" y="28"/>
                </a:cubicBezTo>
                <a:lnTo>
                  <a:pt x="90" y="25"/>
                </a:lnTo>
                <a:close/>
                <a:moveTo>
                  <a:pt x="16" y="72"/>
                </a:moveTo>
                <a:cubicBezTo>
                  <a:pt x="11" y="72"/>
                  <a:pt x="7" y="68"/>
                  <a:pt x="7" y="63"/>
                </a:cubicBezTo>
                <a:cubicBezTo>
                  <a:pt x="7" y="58"/>
                  <a:pt x="11" y="55"/>
                  <a:pt x="16" y="55"/>
                </a:cubicBezTo>
                <a:cubicBezTo>
                  <a:pt x="20" y="55"/>
                  <a:pt x="24" y="58"/>
                  <a:pt x="24" y="63"/>
                </a:cubicBezTo>
                <a:cubicBezTo>
                  <a:pt x="24" y="68"/>
                  <a:pt x="20" y="72"/>
                  <a:pt x="16" y="72"/>
                </a:cubicBezTo>
                <a:close/>
                <a:moveTo>
                  <a:pt x="86" y="74"/>
                </a:moveTo>
                <a:cubicBezTo>
                  <a:pt x="103" y="74"/>
                  <a:pt x="103" y="74"/>
                  <a:pt x="103" y="74"/>
                </a:cubicBezTo>
                <a:cubicBezTo>
                  <a:pt x="92" y="86"/>
                  <a:pt x="92" y="86"/>
                  <a:pt x="92" y="86"/>
                </a:cubicBezTo>
                <a:cubicBezTo>
                  <a:pt x="75" y="86"/>
                  <a:pt x="75" y="86"/>
                  <a:pt x="75" y="86"/>
                </a:cubicBezTo>
                <a:lnTo>
                  <a:pt x="86" y="74"/>
                </a:lnTo>
                <a:close/>
                <a:moveTo>
                  <a:pt x="47" y="74"/>
                </a:moveTo>
                <a:cubicBezTo>
                  <a:pt x="63" y="74"/>
                  <a:pt x="63" y="74"/>
                  <a:pt x="63" y="74"/>
                </a:cubicBezTo>
                <a:cubicBezTo>
                  <a:pt x="53" y="86"/>
                  <a:pt x="53" y="86"/>
                  <a:pt x="53" y="86"/>
                </a:cubicBezTo>
                <a:cubicBezTo>
                  <a:pt x="36" y="86"/>
                  <a:pt x="36" y="86"/>
                  <a:pt x="36" y="86"/>
                </a:cubicBezTo>
                <a:lnTo>
                  <a:pt x="47" y="74"/>
                </a:lnTo>
                <a:close/>
                <a:moveTo>
                  <a:pt x="129" y="86"/>
                </a:moveTo>
                <a:cubicBezTo>
                  <a:pt x="112" y="86"/>
                  <a:pt x="112" y="86"/>
                  <a:pt x="112" y="86"/>
                </a:cubicBezTo>
                <a:cubicBezTo>
                  <a:pt x="123" y="74"/>
                  <a:pt x="123" y="74"/>
                  <a:pt x="123" y="74"/>
                </a:cubicBezTo>
                <a:cubicBezTo>
                  <a:pt x="139" y="74"/>
                  <a:pt x="139" y="74"/>
                  <a:pt x="139" y="74"/>
                </a:cubicBezTo>
                <a:lnTo>
                  <a:pt x="129" y="86"/>
                </a:lnTo>
                <a:close/>
                <a:moveTo>
                  <a:pt x="51" y="33"/>
                </a:moveTo>
                <a:cubicBezTo>
                  <a:pt x="61" y="41"/>
                  <a:pt x="61" y="41"/>
                  <a:pt x="61" y="41"/>
                </a:cubicBezTo>
                <a:cubicBezTo>
                  <a:pt x="45" y="44"/>
                  <a:pt x="45" y="44"/>
                  <a:pt x="45" y="44"/>
                </a:cubicBezTo>
                <a:cubicBezTo>
                  <a:pt x="35" y="36"/>
                  <a:pt x="35" y="36"/>
                  <a:pt x="35" y="36"/>
                </a:cubicBezTo>
                <a:lnTo>
                  <a:pt x="51" y="3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a:spcAft>
                <a:spcPts val="600"/>
              </a:spcAft>
            </a:pPr>
            <a:endParaRPr lang="en-US" dirty="0">
              <a:solidFill>
                <a:prstClr val="black"/>
              </a:solidFill>
            </a:endParaRPr>
          </a:p>
        </p:txBody>
      </p:sp>
      <p:sp>
        <p:nvSpPr>
          <p:cNvPr id="59" name="Rectangle 58"/>
          <p:cNvSpPr/>
          <p:nvPr/>
        </p:nvSpPr>
        <p:spPr bwMode="gray">
          <a:xfrm>
            <a:off x="2031966" y="4280333"/>
            <a:ext cx="1828800" cy="1177105"/>
          </a:xfrm>
          <a:prstGeom prst="rect">
            <a:avLst/>
          </a:prstGeom>
          <a:noFill/>
          <a:ln w="38100" algn="ctr">
            <a:solidFill>
              <a:schemeClr val="accent1"/>
            </a:solidFill>
            <a:miter lim="800000"/>
            <a:headEnd/>
            <a:tailEnd/>
          </a:ln>
        </p:spPr>
        <p:txBody>
          <a:bodyPr wrap="square" lIns="88900" tIns="88900" rIns="88900" bIns="88900" rtlCol="0" anchor="t" anchorCtr="0"/>
          <a:lstStyle/>
          <a:p>
            <a:pPr marL="339725" lvl="1" algn="ctr">
              <a:lnSpc>
                <a:spcPct val="106000"/>
              </a:lnSpc>
              <a:spcAft>
                <a:spcPts val="600"/>
              </a:spcAft>
            </a:pPr>
            <a:r>
              <a:rPr lang="en-US" sz="1100" b="1" dirty="0">
                <a:solidFill>
                  <a:srgbClr val="313131"/>
                </a:solidFill>
              </a:rPr>
              <a:t>Job Aids and Toolkits</a:t>
            </a:r>
          </a:p>
          <a:p>
            <a:pPr marL="0" lvl="1" algn="ctr">
              <a:lnSpc>
                <a:spcPct val="106000"/>
              </a:lnSpc>
              <a:spcAft>
                <a:spcPts val="600"/>
              </a:spcAft>
            </a:pPr>
            <a:r>
              <a:rPr lang="en-US" sz="1100" dirty="0">
                <a:solidFill>
                  <a:srgbClr val="313131"/>
                </a:solidFill>
              </a:rPr>
              <a:t>Resources to help teams apply technical guidance on a project</a:t>
            </a:r>
          </a:p>
        </p:txBody>
      </p:sp>
      <p:grpSp>
        <p:nvGrpSpPr>
          <p:cNvPr id="65" name="Group 37"/>
          <p:cNvGrpSpPr>
            <a:grpSpLocks noChangeAspect="1"/>
          </p:cNvGrpSpPr>
          <p:nvPr/>
        </p:nvGrpSpPr>
        <p:grpSpPr bwMode="auto">
          <a:xfrm>
            <a:off x="2131487" y="4363584"/>
            <a:ext cx="434476" cy="400550"/>
            <a:chOff x="3823" y="1800"/>
            <a:chExt cx="397" cy="366"/>
          </a:xfrm>
          <a:solidFill>
            <a:schemeClr val="accent1"/>
          </a:solidFill>
        </p:grpSpPr>
        <p:sp>
          <p:nvSpPr>
            <p:cNvPr id="66" name="Freeform 38"/>
            <p:cNvSpPr>
              <a:spLocks/>
            </p:cNvSpPr>
            <p:nvPr/>
          </p:nvSpPr>
          <p:spPr bwMode="auto">
            <a:xfrm>
              <a:off x="3826" y="2022"/>
              <a:ext cx="390" cy="144"/>
            </a:xfrm>
            <a:custGeom>
              <a:avLst/>
              <a:gdLst>
                <a:gd name="T0" fmla="*/ 579 w 640"/>
                <a:gd name="T1" fmla="*/ 38 h 234"/>
                <a:gd name="T2" fmla="*/ 579 w 640"/>
                <a:gd name="T3" fmla="*/ 38 h 234"/>
                <a:gd name="T4" fmla="*/ 354 w 640"/>
                <a:gd name="T5" fmla="*/ 38 h 234"/>
                <a:gd name="T6" fmla="*/ 354 w 640"/>
                <a:gd name="T7" fmla="*/ 73 h 234"/>
                <a:gd name="T8" fmla="*/ 349 w 640"/>
                <a:gd name="T9" fmla="*/ 78 h 234"/>
                <a:gd name="T10" fmla="*/ 292 w 640"/>
                <a:gd name="T11" fmla="*/ 78 h 234"/>
                <a:gd name="T12" fmla="*/ 287 w 640"/>
                <a:gd name="T13" fmla="*/ 73 h 234"/>
                <a:gd name="T14" fmla="*/ 287 w 640"/>
                <a:gd name="T15" fmla="*/ 38 h 234"/>
                <a:gd name="T16" fmla="*/ 62 w 640"/>
                <a:gd name="T17" fmla="*/ 38 h 234"/>
                <a:gd name="T18" fmla="*/ 18 w 640"/>
                <a:gd name="T19" fmla="*/ 21 h 234"/>
                <a:gd name="T20" fmla="*/ 0 w 640"/>
                <a:gd name="T21" fmla="*/ 0 h 234"/>
                <a:gd name="T22" fmla="*/ 0 w 640"/>
                <a:gd name="T23" fmla="*/ 216 h 234"/>
                <a:gd name="T24" fmla="*/ 18 w 640"/>
                <a:gd name="T25" fmla="*/ 234 h 234"/>
                <a:gd name="T26" fmla="*/ 622 w 640"/>
                <a:gd name="T27" fmla="*/ 234 h 234"/>
                <a:gd name="T28" fmla="*/ 640 w 640"/>
                <a:gd name="T29" fmla="*/ 216 h 234"/>
                <a:gd name="T30" fmla="*/ 640 w 640"/>
                <a:gd name="T31" fmla="*/ 2 h 234"/>
                <a:gd name="T32" fmla="*/ 624 w 640"/>
                <a:gd name="T33" fmla="*/ 23 h 234"/>
                <a:gd name="T34" fmla="*/ 579 w 640"/>
                <a:gd name="T35" fmla="*/ 3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0" h="234">
                  <a:moveTo>
                    <a:pt x="579" y="38"/>
                  </a:moveTo>
                  <a:lnTo>
                    <a:pt x="579" y="38"/>
                  </a:lnTo>
                  <a:lnTo>
                    <a:pt x="354" y="38"/>
                  </a:lnTo>
                  <a:lnTo>
                    <a:pt x="354" y="73"/>
                  </a:lnTo>
                  <a:cubicBezTo>
                    <a:pt x="354" y="75"/>
                    <a:pt x="351" y="78"/>
                    <a:pt x="349" y="78"/>
                  </a:cubicBezTo>
                  <a:lnTo>
                    <a:pt x="292" y="78"/>
                  </a:lnTo>
                  <a:cubicBezTo>
                    <a:pt x="289" y="78"/>
                    <a:pt x="287" y="75"/>
                    <a:pt x="287" y="73"/>
                  </a:cubicBezTo>
                  <a:lnTo>
                    <a:pt x="287" y="38"/>
                  </a:lnTo>
                  <a:lnTo>
                    <a:pt x="62" y="38"/>
                  </a:lnTo>
                  <a:cubicBezTo>
                    <a:pt x="46" y="37"/>
                    <a:pt x="27" y="34"/>
                    <a:pt x="18" y="21"/>
                  </a:cubicBezTo>
                  <a:lnTo>
                    <a:pt x="0" y="0"/>
                  </a:lnTo>
                  <a:lnTo>
                    <a:pt x="0" y="216"/>
                  </a:lnTo>
                  <a:cubicBezTo>
                    <a:pt x="0" y="225"/>
                    <a:pt x="8" y="234"/>
                    <a:pt x="18" y="234"/>
                  </a:cubicBezTo>
                  <a:lnTo>
                    <a:pt x="622" y="234"/>
                  </a:lnTo>
                  <a:cubicBezTo>
                    <a:pt x="632" y="234"/>
                    <a:pt x="640" y="225"/>
                    <a:pt x="640" y="216"/>
                  </a:cubicBezTo>
                  <a:lnTo>
                    <a:pt x="640" y="2"/>
                  </a:lnTo>
                  <a:lnTo>
                    <a:pt x="624" y="23"/>
                  </a:lnTo>
                  <a:cubicBezTo>
                    <a:pt x="614" y="36"/>
                    <a:pt x="596" y="37"/>
                    <a:pt x="579" y="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9"/>
            <p:cNvSpPr>
              <a:spLocks/>
            </p:cNvSpPr>
            <p:nvPr/>
          </p:nvSpPr>
          <p:spPr bwMode="auto">
            <a:xfrm>
              <a:off x="3949" y="1800"/>
              <a:ext cx="147" cy="44"/>
            </a:xfrm>
            <a:custGeom>
              <a:avLst/>
              <a:gdLst>
                <a:gd name="T0" fmla="*/ 42 w 241"/>
                <a:gd name="T1" fmla="*/ 37 h 71"/>
                <a:gd name="T2" fmla="*/ 42 w 241"/>
                <a:gd name="T3" fmla="*/ 37 h 71"/>
                <a:gd name="T4" fmla="*/ 43 w 241"/>
                <a:gd name="T5" fmla="*/ 34 h 71"/>
                <a:gd name="T6" fmla="*/ 200 w 241"/>
                <a:gd name="T7" fmla="*/ 34 h 71"/>
                <a:gd name="T8" fmla="*/ 201 w 241"/>
                <a:gd name="T9" fmla="*/ 36 h 71"/>
                <a:gd name="T10" fmla="*/ 206 w 241"/>
                <a:gd name="T11" fmla="*/ 71 h 71"/>
                <a:gd name="T12" fmla="*/ 241 w 241"/>
                <a:gd name="T13" fmla="*/ 71 h 71"/>
                <a:gd name="T14" fmla="*/ 235 w 241"/>
                <a:gd name="T15" fmla="*/ 31 h 71"/>
                <a:gd name="T16" fmla="*/ 202 w 241"/>
                <a:gd name="T17" fmla="*/ 0 h 71"/>
                <a:gd name="T18" fmla="*/ 42 w 241"/>
                <a:gd name="T19" fmla="*/ 0 h 71"/>
                <a:gd name="T20" fmla="*/ 8 w 241"/>
                <a:gd name="T21" fmla="*/ 30 h 71"/>
                <a:gd name="T22" fmla="*/ 0 w 241"/>
                <a:gd name="T23" fmla="*/ 71 h 71"/>
                <a:gd name="T24" fmla="*/ 35 w 241"/>
                <a:gd name="T25" fmla="*/ 71 h 71"/>
                <a:gd name="T26" fmla="*/ 42 w 241"/>
                <a:gd name="T27" fmla="*/ 3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71">
                  <a:moveTo>
                    <a:pt x="42" y="37"/>
                  </a:moveTo>
                  <a:lnTo>
                    <a:pt x="42" y="37"/>
                  </a:lnTo>
                  <a:cubicBezTo>
                    <a:pt x="42" y="36"/>
                    <a:pt x="43" y="35"/>
                    <a:pt x="43" y="34"/>
                  </a:cubicBezTo>
                  <a:lnTo>
                    <a:pt x="200" y="34"/>
                  </a:lnTo>
                  <a:cubicBezTo>
                    <a:pt x="200" y="35"/>
                    <a:pt x="201" y="35"/>
                    <a:pt x="201" y="36"/>
                  </a:cubicBezTo>
                  <a:lnTo>
                    <a:pt x="206" y="71"/>
                  </a:lnTo>
                  <a:lnTo>
                    <a:pt x="241" y="71"/>
                  </a:lnTo>
                  <a:lnTo>
                    <a:pt x="235" y="31"/>
                  </a:lnTo>
                  <a:cubicBezTo>
                    <a:pt x="232" y="15"/>
                    <a:pt x="221" y="0"/>
                    <a:pt x="202" y="0"/>
                  </a:cubicBezTo>
                  <a:lnTo>
                    <a:pt x="42" y="0"/>
                  </a:lnTo>
                  <a:cubicBezTo>
                    <a:pt x="22" y="0"/>
                    <a:pt x="11" y="14"/>
                    <a:pt x="8" y="30"/>
                  </a:cubicBezTo>
                  <a:lnTo>
                    <a:pt x="0" y="71"/>
                  </a:lnTo>
                  <a:lnTo>
                    <a:pt x="35" y="71"/>
                  </a:lnTo>
                  <a:lnTo>
                    <a:pt x="42" y="3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Freeform 40"/>
            <p:cNvSpPr>
              <a:spLocks/>
            </p:cNvSpPr>
            <p:nvPr/>
          </p:nvSpPr>
          <p:spPr bwMode="auto">
            <a:xfrm>
              <a:off x="3823" y="1860"/>
              <a:ext cx="397" cy="169"/>
            </a:xfrm>
            <a:custGeom>
              <a:avLst/>
              <a:gdLst>
                <a:gd name="T0" fmla="*/ 633 w 651"/>
                <a:gd name="T1" fmla="*/ 0 h 274"/>
                <a:gd name="T2" fmla="*/ 633 w 651"/>
                <a:gd name="T3" fmla="*/ 0 h 274"/>
                <a:gd name="T4" fmla="*/ 18 w 651"/>
                <a:gd name="T5" fmla="*/ 0 h 274"/>
                <a:gd name="T6" fmla="*/ 0 w 651"/>
                <a:gd name="T7" fmla="*/ 18 h 274"/>
                <a:gd name="T8" fmla="*/ 0 w 651"/>
                <a:gd name="T9" fmla="*/ 187 h 274"/>
                <a:gd name="T10" fmla="*/ 13 w 651"/>
                <a:gd name="T11" fmla="*/ 228 h 274"/>
                <a:gd name="T12" fmla="*/ 33 w 651"/>
                <a:gd name="T13" fmla="*/ 257 h 274"/>
                <a:gd name="T14" fmla="*/ 67 w 651"/>
                <a:gd name="T15" fmla="*/ 274 h 274"/>
                <a:gd name="T16" fmla="*/ 584 w 651"/>
                <a:gd name="T17" fmla="*/ 274 h 274"/>
                <a:gd name="T18" fmla="*/ 618 w 651"/>
                <a:gd name="T19" fmla="*/ 257 h 274"/>
                <a:gd name="T20" fmla="*/ 638 w 651"/>
                <a:gd name="T21" fmla="*/ 228 h 274"/>
                <a:gd name="T22" fmla="*/ 651 w 651"/>
                <a:gd name="T23" fmla="*/ 187 h 274"/>
                <a:gd name="T24" fmla="*/ 651 w 651"/>
                <a:gd name="T25" fmla="*/ 18 h 274"/>
                <a:gd name="T26" fmla="*/ 633 w 651"/>
                <a:gd name="T2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1" h="274">
                  <a:moveTo>
                    <a:pt x="633" y="0"/>
                  </a:moveTo>
                  <a:lnTo>
                    <a:pt x="633" y="0"/>
                  </a:lnTo>
                  <a:lnTo>
                    <a:pt x="18" y="0"/>
                  </a:lnTo>
                  <a:cubicBezTo>
                    <a:pt x="8" y="0"/>
                    <a:pt x="0" y="8"/>
                    <a:pt x="0" y="18"/>
                  </a:cubicBezTo>
                  <a:lnTo>
                    <a:pt x="0" y="187"/>
                  </a:lnTo>
                  <a:cubicBezTo>
                    <a:pt x="0" y="199"/>
                    <a:pt x="8" y="220"/>
                    <a:pt x="13" y="228"/>
                  </a:cubicBezTo>
                  <a:cubicBezTo>
                    <a:pt x="18" y="236"/>
                    <a:pt x="26" y="251"/>
                    <a:pt x="33" y="257"/>
                  </a:cubicBezTo>
                  <a:cubicBezTo>
                    <a:pt x="40" y="262"/>
                    <a:pt x="56" y="274"/>
                    <a:pt x="67" y="274"/>
                  </a:cubicBezTo>
                  <a:lnTo>
                    <a:pt x="584" y="274"/>
                  </a:lnTo>
                  <a:cubicBezTo>
                    <a:pt x="595" y="274"/>
                    <a:pt x="611" y="264"/>
                    <a:pt x="618" y="257"/>
                  </a:cubicBezTo>
                  <a:cubicBezTo>
                    <a:pt x="624" y="250"/>
                    <a:pt x="634" y="236"/>
                    <a:pt x="638" y="228"/>
                  </a:cubicBezTo>
                  <a:cubicBezTo>
                    <a:pt x="642" y="220"/>
                    <a:pt x="651" y="199"/>
                    <a:pt x="651" y="187"/>
                  </a:cubicBezTo>
                  <a:lnTo>
                    <a:pt x="651" y="18"/>
                  </a:lnTo>
                  <a:cubicBezTo>
                    <a:pt x="651" y="8"/>
                    <a:pt x="643" y="0"/>
                    <a:pt x="63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9" name="TextBox 28"/>
          <p:cNvSpPr txBox="1"/>
          <p:nvPr/>
        </p:nvSpPr>
        <p:spPr>
          <a:xfrm>
            <a:off x="8548355" y="5862916"/>
            <a:ext cx="1396841" cy="553998"/>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dirty="0">
                <a:solidFill>
                  <a:schemeClr val="tx2"/>
                </a:solidFill>
              </a:rPr>
              <a:t>New CPE Standards</a:t>
            </a:r>
          </a:p>
        </p:txBody>
      </p:sp>
      <p:sp>
        <p:nvSpPr>
          <p:cNvPr id="30" name="5-Point Star 29"/>
          <p:cNvSpPr/>
          <p:nvPr/>
        </p:nvSpPr>
        <p:spPr bwMode="gray">
          <a:xfrm>
            <a:off x="7754471" y="5915448"/>
            <a:ext cx="699247" cy="503276"/>
          </a:xfrm>
          <a:prstGeom prst="star5">
            <a:avLst/>
          </a:prstGeom>
          <a:solidFill>
            <a:srgbClr val="FFC000"/>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55474393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89760" y="295683"/>
            <a:ext cx="8412480" cy="506012"/>
          </a:xfrm>
        </p:spPr>
        <p:txBody>
          <a:bodyPr vert="horz" lIns="0" tIns="0" rIns="0" bIns="0" rtlCol="0" anchor="t" anchorCtr="0">
            <a:noAutofit/>
          </a:bodyPr>
          <a:lstStyle/>
          <a:p>
            <a:r>
              <a:rPr lang="en-US" dirty="0"/>
              <a:t>Developing Beyond Core Skills</a:t>
            </a:r>
          </a:p>
        </p:txBody>
      </p:sp>
      <p:sp>
        <p:nvSpPr>
          <p:cNvPr id="8" name="Rectangle 7"/>
          <p:cNvSpPr/>
          <p:nvPr/>
        </p:nvSpPr>
        <p:spPr bwMode="gray">
          <a:xfrm>
            <a:off x="1889759" y="873117"/>
            <a:ext cx="8323116" cy="2164262"/>
          </a:xfrm>
          <a:prstGeom prst="rect">
            <a:avLst/>
          </a:prstGeom>
          <a:noFill/>
          <a:ln w="38100" algn="ctr">
            <a:solidFill>
              <a:schemeClr val="accent3"/>
            </a:solidFill>
            <a:miter lim="800000"/>
            <a:headEnd/>
            <a:tailEnd/>
          </a:ln>
        </p:spPr>
        <p:txBody>
          <a:bodyPr wrap="square" lIns="88900" tIns="91440" rIns="88900" bIns="88900" rtlCol="0" anchor="t" anchorCtr="0"/>
          <a:lstStyle/>
          <a:p>
            <a:pPr marL="60325" algn="ctr">
              <a:spcAft>
                <a:spcPts val="300"/>
              </a:spcAft>
            </a:pPr>
            <a:r>
              <a:rPr lang="en-US" sz="1400" b="1" dirty="0">
                <a:solidFill>
                  <a:schemeClr val="accent3"/>
                </a:solidFill>
              </a:rPr>
              <a:t>Preliminary Design Parameters for Personalized Development</a:t>
            </a:r>
          </a:p>
        </p:txBody>
      </p:sp>
      <p:sp>
        <p:nvSpPr>
          <p:cNvPr id="36" name="Rectangle 35"/>
          <p:cNvSpPr/>
          <p:nvPr/>
        </p:nvSpPr>
        <p:spPr bwMode="gray">
          <a:xfrm>
            <a:off x="2003002" y="1255333"/>
            <a:ext cx="1547471" cy="50042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Structure</a:t>
            </a:r>
            <a:endParaRPr lang="en-US" sz="1400" b="1" i="1" dirty="0">
              <a:solidFill>
                <a:prstClr val="white"/>
              </a:solidFill>
            </a:endParaRPr>
          </a:p>
        </p:txBody>
      </p:sp>
      <p:sp>
        <p:nvSpPr>
          <p:cNvPr id="38" name="TextBox 37"/>
          <p:cNvSpPr txBox="1"/>
          <p:nvPr/>
        </p:nvSpPr>
        <p:spPr bwMode="gray">
          <a:xfrm>
            <a:off x="3619131" y="1273263"/>
            <a:ext cx="6525087" cy="601692"/>
          </a:xfrm>
          <a:prstGeom prst="rect">
            <a:avLst/>
          </a:prstGeom>
          <a:noFill/>
        </p:spPr>
        <p:txBody>
          <a:bodyPr vert="horz" wrap="square" lIns="0" tIns="0" rIns="0" bIns="0" rtlCol="0" anchor="ctr">
            <a:noAutofit/>
          </a:bodyPr>
          <a:lstStyle/>
          <a:p>
            <a:pPr marL="171450"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Offerings will be comprised of elective courses and on-the-job experience and exposure activities recommended or chosen by professionals based career interests, engagement roles, or skill gaps</a:t>
            </a:r>
          </a:p>
          <a:p>
            <a:pPr marL="171450" indent="-171450">
              <a:spcAft>
                <a:spcPts val="300"/>
              </a:spcAft>
              <a:buClr>
                <a:srgbClr val="000000"/>
              </a:buClr>
              <a:buSzPct val="100000"/>
              <a:buFont typeface="Arial" panose="020B0604020202020204" pitchFamily="34" charset="0"/>
              <a:buChar char="•"/>
            </a:pPr>
            <a:endParaRPr lang="en-US" sz="1100" dirty="0">
              <a:solidFill>
                <a:srgbClr val="313131"/>
              </a:solidFill>
            </a:endParaRPr>
          </a:p>
        </p:txBody>
      </p:sp>
      <p:sp>
        <p:nvSpPr>
          <p:cNvPr id="40" name="Rectangle 39"/>
          <p:cNvSpPr/>
          <p:nvPr/>
        </p:nvSpPr>
        <p:spPr bwMode="gray">
          <a:xfrm>
            <a:off x="2003002" y="1836211"/>
            <a:ext cx="1547471" cy="45450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Content</a:t>
            </a:r>
            <a:endParaRPr lang="en-US" sz="1400" b="1" i="1" dirty="0">
              <a:solidFill>
                <a:prstClr val="white"/>
              </a:solidFill>
            </a:endParaRPr>
          </a:p>
        </p:txBody>
      </p:sp>
      <p:sp>
        <p:nvSpPr>
          <p:cNvPr id="43" name="TextBox 42"/>
          <p:cNvSpPr txBox="1"/>
          <p:nvPr/>
        </p:nvSpPr>
        <p:spPr bwMode="gray">
          <a:xfrm>
            <a:off x="3619131" y="1741965"/>
            <a:ext cx="6525087" cy="601692"/>
          </a:xfrm>
          <a:prstGeom prst="rect">
            <a:avLst/>
          </a:prstGeom>
          <a:noFill/>
        </p:spPr>
        <p:txBody>
          <a:bodyPr vert="horz" wrap="square" lIns="0" tIns="0" rIns="0" bIns="0" rtlCol="0" anchor="ctr">
            <a:noAutofit/>
          </a:bodyPr>
          <a:lstStyle>
            <a:defPPr>
              <a:defRPr lang="en-US"/>
            </a:defPPr>
            <a:lvl1pPr marL="171450" indent="-171450">
              <a:spcAft>
                <a:spcPts val="300"/>
              </a:spcAft>
              <a:buClr>
                <a:srgbClr val="000000"/>
              </a:buClr>
              <a:buSzPct val="100000"/>
              <a:buFont typeface="Arial" panose="020B0604020202020204" pitchFamily="34" charset="0"/>
              <a:buChar char="•"/>
              <a:defRPr sz="1100">
                <a:solidFill>
                  <a:schemeClr val="tx2"/>
                </a:solidFill>
                <a:cs typeface="Arial" charset="0"/>
              </a:defRPr>
            </a:lvl1pPr>
          </a:lstStyle>
          <a:p>
            <a:pPr marL="171450" lvl="1"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An elective course catalog will focus on capability areas that drive ongoing development</a:t>
            </a:r>
          </a:p>
          <a:p>
            <a:pPr marL="171450" lvl="1"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A menu of E&amp;E activities will help professionals align their daily work with their development goals</a:t>
            </a:r>
          </a:p>
        </p:txBody>
      </p:sp>
      <p:sp>
        <p:nvSpPr>
          <p:cNvPr id="45" name="Rectangle 44"/>
          <p:cNvSpPr/>
          <p:nvPr/>
        </p:nvSpPr>
        <p:spPr bwMode="gray">
          <a:xfrm>
            <a:off x="2003001" y="2379218"/>
            <a:ext cx="1547471" cy="58330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spcAft>
                <a:spcPts val="300"/>
              </a:spcAft>
            </a:pPr>
            <a:r>
              <a:rPr lang="en-US" sz="1400" b="1" dirty="0">
                <a:solidFill>
                  <a:schemeClr val="bg1"/>
                </a:solidFill>
                <a:cs typeface="Arial" pitchFamily="34" charset="0"/>
              </a:rPr>
              <a:t>Learner Experience</a:t>
            </a:r>
            <a:endParaRPr lang="en-US" sz="1400" b="1" i="1" dirty="0">
              <a:solidFill>
                <a:prstClr val="white"/>
              </a:solidFill>
            </a:endParaRPr>
          </a:p>
        </p:txBody>
      </p:sp>
      <p:sp>
        <p:nvSpPr>
          <p:cNvPr id="46" name="TextBox 45"/>
          <p:cNvSpPr txBox="1"/>
          <p:nvPr/>
        </p:nvSpPr>
        <p:spPr bwMode="gray">
          <a:xfrm>
            <a:off x="3619131" y="2366613"/>
            <a:ext cx="6525087" cy="601692"/>
          </a:xfrm>
          <a:prstGeom prst="rect">
            <a:avLst/>
          </a:prstGeom>
          <a:noFill/>
        </p:spPr>
        <p:txBody>
          <a:bodyPr vert="horz" wrap="square" lIns="0" tIns="0" rIns="0" bIns="0" rtlCol="0" anchor="ctr">
            <a:noAutofit/>
          </a:bodyPr>
          <a:lstStyle>
            <a:defPPr>
              <a:defRPr lang="en-US"/>
            </a:defPPr>
            <a:lvl1pPr marL="171450" indent="-171450">
              <a:spcAft>
                <a:spcPts val="300"/>
              </a:spcAft>
              <a:buClr>
                <a:srgbClr val="000000"/>
              </a:buClr>
              <a:buSzPct val="100000"/>
              <a:buFont typeface="Arial" panose="020B0604020202020204" pitchFamily="34" charset="0"/>
              <a:buChar char="•"/>
              <a:defRPr sz="1100">
                <a:solidFill>
                  <a:schemeClr val="tx2"/>
                </a:solidFill>
                <a:cs typeface="Arial" charset="0"/>
              </a:defRPr>
            </a:lvl1pPr>
          </a:lstStyle>
          <a:p>
            <a:pPr marL="171450" lvl="1"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Assessments will tee up development planning by helping professionals understand how their current skills align with career level expectations and long-term career interests</a:t>
            </a:r>
          </a:p>
          <a:p>
            <a:pPr marL="171450" lvl="1" indent="-171450">
              <a:spcAft>
                <a:spcPts val="300"/>
              </a:spcAft>
              <a:buClr>
                <a:srgbClr val="000000"/>
              </a:buClr>
              <a:buSzPct val="100000"/>
              <a:buFont typeface="Arial" panose="020B0604020202020204" pitchFamily="34" charset="0"/>
              <a:buChar char="•"/>
            </a:pPr>
            <a:r>
              <a:rPr lang="en-US" sz="1100" dirty="0">
                <a:solidFill>
                  <a:schemeClr val="tx2"/>
                </a:solidFill>
                <a:cs typeface="Arial" charset="0"/>
              </a:rPr>
              <a:t>Development plans will be completed over the course of the year</a:t>
            </a:r>
          </a:p>
        </p:txBody>
      </p:sp>
      <p:grpSp>
        <p:nvGrpSpPr>
          <p:cNvPr id="52" name="Group 51"/>
          <p:cNvGrpSpPr/>
          <p:nvPr/>
        </p:nvGrpSpPr>
        <p:grpSpPr>
          <a:xfrm>
            <a:off x="2246805" y="3033064"/>
            <a:ext cx="7698390" cy="184666"/>
            <a:chOff x="722804" y="2087422"/>
            <a:chExt cx="7698390" cy="184666"/>
          </a:xfrm>
        </p:grpSpPr>
        <p:cxnSp>
          <p:nvCxnSpPr>
            <p:cNvPr id="53" name="Straight Connector 52"/>
            <p:cNvCxnSpPr/>
            <p:nvPr/>
          </p:nvCxnSpPr>
          <p:spPr>
            <a:xfrm>
              <a:off x="722804" y="2179755"/>
              <a:ext cx="76983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603172" y="2087422"/>
              <a:ext cx="1937658" cy="184666"/>
            </a:xfrm>
            <a:prstGeom prst="rect">
              <a:avLst/>
            </a:prstGeom>
            <a:solidFill>
              <a:schemeClr val="bg1"/>
            </a:solidFill>
          </p:spPr>
          <p:txBody>
            <a:bodyPr wrap="square" lIns="0" tIns="0" rIns="0" bIns="0" rtlCol="0">
              <a:spAutoFit/>
            </a:bodyPr>
            <a:lstStyle/>
            <a:p>
              <a:pPr algn="ctr">
                <a:spcBef>
                  <a:spcPts val="1200"/>
                </a:spcBef>
                <a:buSzPct val="25000"/>
              </a:pPr>
              <a:r>
                <a:rPr lang="en-US" sz="1200" b="1" dirty="0">
                  <a:solidFill>
                    <a:srgbClr val="002776"/>
                  </a:solidFill>
                </a:rPr>
                <a:t>What It Could Look Like</a:t>
              </a:r>
            </a:p>
          </p:txBody>
        </p:sp>
      </p:grpSp>
      <p:grpSp>
        <p:nvGrpSpPr>
          <p:cNvPr id="32" name="Group 31"/>
          <p:cNvGrpSpPr/>
          <p:nvPr/>
        </p:nvGrpSpPr>
        <p:grpSpPr>
          <a:xfrm>
            <a:off x="8702741" y="100237"/>
            <a:ext cx="548640" cy="548640"/>
            <a:chOff x="5296346" y="1857616"/>
            <a:chExt cx="754756" cy="754756"/>
          </a:xfrm>
        </p:grpSpPr>
        <p:sp>
          <p:nvSpPr>
            <p:cNvPr id="34" name="Oval 33"/>
            <p:cNvSpPr/>
            <p:nvPr/>
          </p:nvSpPr>
          <p:spPr>
            <a:xfrm rot="774391">
              <a:off x="5296346" y="1857616"/>
              <a:ext cx="754756"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42" name="Freeform 9"/>
            <p:cNvSpPr>
              <a:spLocks noChangeAspect="1" noEditPoints="1"/>
            </p:cNvSpPr>
            <p:nvPr/>
          </p:nvSpPr>
          <p:spPr bwMode="auto">
            <a:xfrm>
              <a:off x="5445309" y="1943806"/>
              <a:ext cx="484038" cy="457200"/>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7" name="Group 46"/>
          <p:cNvGrpSpPr/>
          <p:nvPr/>
        </p:nvGrpSpPr>
        <p:grpSpPr>
          <a:xfrm>
            <a:off x="9317840" y="100237"/>
            <a:ext cx="548640" cy="548640"/>
            <a:chOff x="5833566" y="3714397"/>
            <a:chExt cx="754756" cy="754756"/>
          </a:xfrm>
        </p:grpSpPr>
        <p:sp>
          <p:nvSpPr>
            <p:cNvPr id="48" name="Oval 47"/>
            <p:cNvSpPr/>
            <p:nvPr/>
          </p:nvSpPr>
          <p:spPr>
            <a:xfrm rot="4342465">
              <a:off x="5833566" y="3714397"/>
              <a:ext cx="754756"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49" name="Freeform 73"/>
            <p:cNvSpPr>
              <a:spLocks noChangeAspect="1" noEditPoints="1"/>
            </p:cNvSpPr>
            <p:nvPr/>
          </p:nvSpPr>
          <p:spPr bwMode="auto">
            <a:xfrm>
              <a:off x="5969166" y="4042045"/>
              <a:ext cx="476475" cy="182880"/>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0" name="Group 49"/>
          <p:cNvGrpSpPr/>
          <p:nvPr/>
        </p:nvGrpSpPr>
        <p:grpSpPr>
          <a:xfrm>
            <a:off x="9932939" y="100237"/>
            <a:ext cx="548640" cy="548640"/>
            <a:chOff x="2494116" y="4965581"/>
            <a:chExt cx="754756" cy="754756"/>
          </a:xfrm>
        </p:grpSpPr>
        <p:sp>
          <p:nvSpPr>
            <p:cNvPr id="51" name="Oval 50"/>
            <p:cNvSpPr/>
            <p:nvPr/>
          </p:nvSpPr>
          <p:spPr>
            <a:xfrm rot="12143762">
              <a:off x="2494116" y="4965581"/>
              <a:ext cx="754756" cy="754756"/>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55" name="Freeform 83"/>
            <p:cNvSpPr>
              <a:spLocks noChangeAspect="1" noEditPoints="1"/>
            </p:cNvSpPr>
            <p:nvPr/>
          </p:nvSpPr>
          <p:spPr bwMode="auto">
            <a:xfrm>
              <a:off x="2636321" y="5122182"/>
              <a:ext cx="457200" cy="422793"/>
            </a:xfrm>
            <a:custGeom>
              <a:avLst/>
              <a:gdLst>
                <a:gd name="T0" fmla="*/ 37 w 150"/>
                <a:gd name="T1" fmla="*/ 50 h 150"/>
                <a:gd name="T2" fmla="*/ 41 w 150"/>
                <a:gd name="T3" fmla="*/ 51 h 150"/>
                <a:gd name="T4" fmla="*/ 60 w 150"/>
                <a:gd name="T5" fmla="*/ 34 h 150"/>
                <a:gd name="T6" fmla="*/ 59 w 150"/>
                <a:gd name="T7" fmla="*/ 30 h 150"/>
                <a:gd name="T8" fmla="*/ 60 w 150"/>
                <a:gd name="T9" fmla="*/ 25 h 150"/>
                <a:gd name="T10" fmla="*/ 36 w 150"/>
                <a:gd name="T11" fmla="*/ 12 h 150"/>
                <a:gd name="T12" fmla="*/ 15 w 150"/>
                <a:gd name="T13" fmla="*/ 31 h 150"/>
                <a:gd name="T14" fmla="*/ 30 w 150"/>
                <a:gd name="T15" fmla="*/ 52 h 150"/>
                <a:gd name="T16" fmla="*/ 37 w 150"/>
                <a:gd name="T17" fmla="*/ 50 h 150"/>
                <a:gd name="T18" fmla="*/ 21 w 150"/>
                <a:gd name="T19" fmla="*/ 66 h 150"/>
                <a:gd name="T20" fmla="*/ 22 w 150"/>
                <a:gd name="T21" fmla="*/ 60 h 150"/>
                <a:gd name="T22" fmla="*/ 8 w 150"/>
                <a:gd name="T23" fmla="*/ 42 h 150"/>
                <a:gd name="T24" fmla="*/ 0 w 150"/>
                <a:gd name="T25" fmla="*/ 75 h 150"/>
                <a:gd name="T26" fmla="*/ 11 w 150"/>
                <a:gd name="T27" fmla="*/ 114 h 150"/>
                <a:gd name="T28" fmla="*/ 24 w 150"/>
                <a:gd name="T29" fmla="*/ 76 h 150"/>
                <a:gd name="T30" fmla="*/ 21 w 150"/>
                <a:gd name="T31" fmla="*/ 66 h 150"/>
                <a:gd name="T32" fmla="*/ 75 w 150"/>
                <a:gd name="T33" fmla="*/ 14 h 150"/>
                <a:gd name="T34" fmla="*/ 86 w 150"/>
                <a:gd name="T35" fmla="*/ 18 h 150"/>
                <a:gd name="T36" fmla="*/ 113 w 150"/>
                <a:gd name="T37" fmla="*/ 10 h 150"/>
                <a:gd name="T38" fmla="*/ 75 w 150"/>
                <a:gd name="T39" fmla="*/ 0 h 150"/>
                <a:gd name="T40" fmla="*/ 49 w 150"/>
                <a:gd name="T41" fmla="*/ 5 h 150"/>
                <a:gd name="T42" fmla="*/ 67 w 150"/>
                <a:gd name="T43" fmla="*/ 16 h 150"/>
                <a:gd name="T44" fmla="*/ 75 w 150"/>
                <a:gd name="T45" fmla="*/ 14 h 150"/>
                <a:gd name="T46" fmla="*/ 99 w 150"/>
                <a:gd name="T47" fmla="*/ 89 h 150"/>
                <a:gd name="T48" fmla="*/ 103 w 150"/>
                <a:gd name="T49" fmla="*/ 84 h 150"/>
                <a:gd name="T50" fmla="*/ 82 w 150"/>
                <a:gd name="T51" fmla="*/ 45 h 150"/>
                <a:gd name="T52" fmla="*/ 75 w 150"/>
                <a:gd name="T53" fmla="*/ 46 h 150"/>
                <a:gd name="T54" fmla="*/ 66 w 150"/>
                <a:gd name="T55" fmla="*/ 43 h 150"/>
                <a:gd name="T56" fmla="*/ 50 w 150"/>
                <a:gd name="T57" fmla="*/ 58 h 150"/>
                <a:gd name="T58" fmla="*/ 53 w 150"/>
                <a:gd name="T59" fmla="*/ 66 h 150"/>
                <a:gd name="T60" fmla="*/ 52 w 150"/>
                <a:gd name="T61" fmla="*/ 71 h 150"/>
                <a:gd name="T62" fmla="*/ 99 w 150"/>
                <a:gd name="T63" fmla="*/ 89 h 150"/>
                <a:gd name="T64" fmla="*/ 120 w 150"/>
                <a:gd name="T65" fmla="*/ 111 h 150"/>
                <a:gd name="T66" fmla="*/ 120 w 150"/>
                <a:gd name="T67" fmla="*/ 120 h 150"/>
                <a:gd name="T68" fmla="*/ 119 w 150"/>
                <a:gd name="T69" fmla="*/ 136 h 150"/>
                <a:gd name="T70" fmla="*/ 147 w 150"/>
                <a:gd name="T71" fmla="*/ 98 h 150"/>
                <a:gd name="T72" fmla="*/ 129 w 150"/>
                <a:gd name="T73" fmla="*/ 101 h 150"/>
                <a:gd name="T74" fmla="*/ 120 w 150"/>
                <a:gd name="T75" fmla="*/ 111 h 150"/>
                <a:gd name="T76" fmla="*/ 96 w 150"/>
                <a:gd name="T77" fmla="*/ 100 h 150"/>
                <a:gd name="T78" fmla="*/ 45 w 150"/>
                <a:gd name="T79" fmla="*/ 80 h 150"/>
                <a:gd name="T80" fmla="*/ 37 w 150"/>
                <a:gd name="T81" fmla="*/ 82 h 150"/>
                <a:gd name="T82" fmla="*/ 33 w 150"/>
                <a:gd name="T83" fmla="*/ 82 h 150"/>
                <a:gd name="T84" fmla="*/ 20 w 150"/>
                <a:gd name="T85" fmla="*/ 127 h 150"/>
                <a:gd name="T86" fmla="*/ 46 w 150"/>
                <a:gd name="T87" fmla="*/ 145 h 150"/>
                <a:gd name="T88" fmla="*/ 96 w 150"/>
                <a:gd name="T89" fmla="*/ 100 h 150"/>
                <a:gd name="T90" fmla="*/ 126 w 150"/>
                <a:gd name="T91" fmla="*/ 20 h 150"/>
                <a:gd name="T92" fmla="*/ 91 w 150"/>
                <a:gd name="T93" fmla="*/ 28 h 150"/>
                <a:gd name="T94" fmla="*/ 91 w 150"/>
                <a:gd name="T95" fmla="*/ 30 h 150"/>
                <a:gd name="T96" fmla="*/ 90 w 150"/>
                <a:gd name="T97" fmla="*/ 37 h 150"/>
                <a:gd name="T98" fmla="*/ 114 w 150"/>
                <a:gd name="T99" fmla="*/ 80 h 150"/>
                <a:gd name="T100" fmla="*/ 128 w 150"/>
                <a:gd name="T101" fmla="*/ 90 h 150"/>
                <a:gd name="T102" fmla="*/ 149 w 150"/>
                <a:gd name="T103" fmla="*/ 86 h 150"/>
                <a:gd name="T104" fmla="*/ 150 w 150"/>
                <a:gd name="T105" fmla="*/ 75 h 150"/>
                <a:gd name="T106" fmla="*/ 126 w 150"/>
                <a:gd name="T107" fmla="*/ 20 h 150"/>
                <a:gd name="T108" fmla="*/ 104 w 150"/>
                <a:gd name="T109" fmla="*/ 109 h 150"/>
                <a:gd name="T110" fmla="*/ 57 w 150"/>
                <a:gd name="T111" fmla="*/ 148 h 150"/>
                <a:gd name="T112" fmla="*/ 75 w 150"/>
                <a:gd name="T113" fmla="*/ 150 h 150"/>
                <a:gd name="T114" fmla="*/ 107 w 150"/>
                <a:gd name="T115" fmla="*/ 143 h 150"/>
                <a:gd name="T116" fmla="*/ 109 w 150"/>
                <a:gd name="T117" fmla="*/ 120 h 150"/>
                <a:gd name="T118" fmla="*/ 109 w 150"/>
                <a:gd name="T119" fmla="*/ 111 h 150"/>
                <a:gd name="T120" fmla="*/ 104 w 150"/>
                <a:gd name="T121" fmla="*/ 10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37" y="50"/>
                  </a:moveTo>
                  <a:cubicBezTo>
                    <a:pt x="38" y="50"/>
                    <a:pt x="40" y="50"/>
                    <a:pt x="41" y="51"/>
                  </a:cubicBezTo>
                  <a:cubicBezTo>
                    <a:pt x="47" y="45"/>
                    <a:pt x="53" y="39"/>
                    <a:pt x="60" y="34"/>
                  </a:cubicBezTo>
                  <a:cubicBezTo>
                    <a:pt x="60" y="33"/>
                    <a:pt x="59" y="31"/>
                    <a:pt x="59" y="30"/>
                  </a:cubicBezTo>
                  <a:cubicBezTo>
                    <a:pt x="59" y="28"/>
                    <a:pt x="60" y="27"/>
                    <a:pt x="60" y="25"/>
                  </a:cubicBezTo>
                  <a:cubicBezTo>
                    <a:pt x="53" y="20"/>
                    <a:pt x="45" y="15"/>
                    <a:pt x="36" y="12"/>
                  </a:cubicBezTo>
                  <a:cubicBezTo>
                    <a:pt x="28" y="17"/>
                    <a:pt x="20" y="23"/>
                    <a:pt x="15" y="31"/>
                  </a:cubicBezTo>
                  <a:cubicBezTo>
                    <a:pt x="19" y="38"/>
                    <a:pt x="24" y="45"/>
                    <a:pt x="30" y="52"/>
                  </a:cubicBezTo>
                  <a:cubicBezTo>
                    <a:pt x="32" y="51"/>
                    <a:pt x="34" y="50"/>
                    <a:pt x="37" y="50"/>
                  </a:cubicBezTo>
                  <a:close/>
                  <a:moveTo>
                    <a:pt x="21" y="66"/>
                  </a:moveTo>
                  <a:cubicBezTo>
                    <a:pt x="21" y="64"/>
                    <a:pt x="21" y="62"/>
                    <a:pt x="22" y="60"/>
                  </a:cubicBezTo>
                  <a:cubicBezTo>
                    <a:pt x="17" y="54"/>
                    <a:pt x="12" y="48"/>
                    <a:pt x="8" y="42"/>
                  </a:cubicBezTo>
                  <a:cubicBezTo>
                    <a:pt x="3" y="52"/>
                    <a:pt x="0" y="63"/>
                    <a:pt x="0" y="75"/>
                  </a:cubicBezTo>
                  <a:cubicBezTo>
                    <a:pt x="0" y="89"/>
                    <a:pt x="4" y="103"/>
                    <a:pt x="11" y="114"/>
                  </a:cubicBezTo>
                  <a:cubicBezTo>
                    <a:pt x="13" y="100"/>
                    <a:pt x="18" y="88"/>
                    <a:pt x="24" y="76"/>
                  </a:cubicBezTo>
                  <a:cubicBezTo>
                    <a:pt x="22" y="73"/>
                    <a:pt x="21" y="70"/>
                    <a:pt x="21" y="66"/>
                  </a:cubicBezTo>
                  <a:close/>
                  <a:moveTo>
                    <a:pt x="75" y="14"/>
                  </a:moveTo>
                  <a:cubicBezTo>
                    <a:pt x="80" y="14"/>
                    <a:pt x="83" y="16"/>
                    <a:pt x="86" y="18"/>
                  </a:cubicBezTo>
                  <a:cubicBezTo>
                    <a:pt x="95" y="15"/>
                    <a:pt x="103" y="12"/>
                    <a:pt x="113" y="10"/>
                  </a:cubicBezTo>
                  <a:cubicBezTo>
                    <a:pt x="102" y="4"/>
                    <a:pt x="89" y="0"/>
                    <a:pt x="75" y="0"/>
                  </a:cubicBezTo>
                  <a:cubicBezTo>
                    <a:pt x="66" y="0"/>
                    <a:pt x="57" y="2"/>
                    <a:pt x="49" y="5"/>
                  </a:cubicBezTo>
                  <a:cubicBezTo>
                    <a:pt x="55" y="8"/>
                    <a:pt x="61" y="12"/>
                    <a:pt x="67" y="16"/>
                  </a:cubicBezTo>
                  <a:cubicBezTo>
                    <a:pt x="70" y="15"/>
                    <a:pt x="72" y="14"/>
                    <a:pt x="75" y="14"/>
                  </a:cubicBezTo>
                  <a:close/>
                  <a:moveTo>
                    <a:pt x="99" y="89"/>
                  </a:moveTo>
                  <a:cubicBezTo>
                    <a:pt x="100" y="87"/>
                    <a:pt x="102" y="85"/>
                    <a:pt x="103" y="84"/>
                  </a:cubicBezTo>
                  <a:cubicBezTo>
                    <a:pt x="99" y="69"/>
                    <a:pt x="91" y="56"/>
                    <a:pt x="82" y="45"/>
                  </a:cubicBezTo>
                  <a:cubicBezTo>
                    <a:pt x="80" y="46"/>
                    <a:pt x="78" y="46"/>
                    <a:pt x="75" y="46"/>
                  </a:cubicBezTo>
                  <a:cubicBezTo>
                    <a:pt x="72" y="46"/>
                    <a:pt x="69" y="45"/>
                    <a:pt x="66" y="43"/>
                  </a:cubicBezTo>
                  <a:cubicBezTo>
                    <a:pt x="60" y="47"/>
                    <a:pt x="55" y="52"/>
                    <a:pt x="50" y="58"/>
                  </a:cubicBezTo>
                  <a:cubicBezTo>
                    <a:pt x="52" y="60"/>
                    <a:pt x="53" y="63"/>
                    <a:pt x="53" y="66"/>
                  </a:cubicBezTo>
                  <a:cubicBezTo>
                    <a:pt x="53" y="68"/>
                    <a:pt x="52" y="69"/>
                    <a:pt x="52" y="71"/>
                  </a:cubicBezTo>
                  <a:cubicBezTo>
                    <a:pt x="66" y="80"/>
                    <a:pt x="82" y="87"/>
                    <a:pt x="99" y="89"/>
                  </a:cubicBezTo>
                  <a:close/>
                  <a:moveTo>
                    <a:pt x="120" y="111"/>
                  </a:moveTo>
                  <a:cubicBezTo>
                    <a:pt x="120" y="114"/>
                    <a:pt x="120" y="117"/>
                    <a:pt x="120" y="120"/>
                  </a:cubicBezTo>
                  <a:cubicBezTo>
                    <a:pt x="120" y="125"/>
                    <a:pt x="120" y="131"/>
                    <a:pt x="119" y="136"/>
                  </a:cubicBezTo>
                  <a:cubicBezTo>
                    <a:pt x="132" y="127"/>
                    <a:pt x="142" y="114"/>
                    <a:pt x="147" y="98"/>
                  </a:cubicBezTo>
                  <a:cubicBezTo>
                    <a:pt x="141" y="100"/>
                    <a:pt x="135" y="101"/>
                    <a:pt x="129" y="101"/>
                  </a:cubicBezTo>
                  <a:cubicBezTo>
                    <a:pt x="127" y="106"/>
                    <a:pt x="124" y="109"/>
                    <a:pt x="120" y="111"/>
                  </a:cubicBezTo>
                  <a:close/>
                  <a:moveTo>
                    <a:pt x="96" y="100"/>
                  </a:moveTo>
                  <a:cubicBezTo>
                    <a:pt x="77" y="97"/>
                    <a:pt x="60" y="90"/>
                    <a:pt x="45" y="80"/>
                  </a:cubicBezTo>
                  <a:cubicBezTo>
                    <a:pt x="43" y="81"/>
                    <a:pt x="40" y="82"/>
                    <a:pt x="37" y="82"/>
                  </a:cubicBezTo>
                  <a:cubicBezTo>
                    <a:pt x="35" y="82"/>
                    <a:pt x="34" y="82"/>
                    <a:pt x="33" y="82"/>
                  </a:cubicBezTo>
                  <a:cubicBezTo>
                    <a:pt x="26" y="95"/>
                    <a:pt x="22" y="111"/>
                    <a:pt x="20" y="127"/>
                  </a:cubicBezTo>
                  <a:cubicBezTo>
                    <a:pt x="27" y="134"/>
                    <a:pt x="36" y="140"/>
                    <a:pt x="46" y="145"/>
                  </a:cubicBezTo>
                  <a:cubicBezTo>
                    <a:pt x="58" y="126"/>
                    <a:pt x="75" y="110"/>
                    <a:pt x="96" y="100"/>
                  </a:cubicBezTo>
                  <a:close/>
                  <a:moveTo>
                    <a:pt x="126" y="20"/>
                  </a:moveTo>
                  <a:cubicBezTo>
                    <a:pt x="114" y="21"/>
                    <a:pt x="102" y="24"/>
                    <a:pt x="91" y="28"/>
                  </a:cubicBezTo>
                  <a:cubicBezTo>
                    <a:pt x="91" y="29"/>
                    <a:pt x="91" y="30"/>
                    <a:pt x="91" y="30"/>
                  </a:cubicBezTo>
                  <a:cubicBezTo>
                    <a:pt x="91" y="33"/>
                    <a:pt x="91" y="35"/>
                    <a:pt x="90" y="37"/>
                  </a:cubicBezTo>
                  <a:cubicBezTo>
                    <a:pt x="100" y="50"/>
                    <a:pt x="109" y="64"/>
                    <a:pt x="114" y="80"/>
                  </a:cubicBezTo>
                  <a:cubicBezTo>
                    <a:pt x="120" y="80"/>
                    <a:pt x="126" y="84"/>
                    <a:pt x="128" y="90"/>
                  </a:cubicBezTo>
                  <a:cubicBezTo>
                    <a:pt x="136" y="89"/>
                    <a:pt x="143" y="88"/>
                    <a:pt x="149" y="86"/>
                  </a:cubicBezTo>
                  <a:cubicBezTo>
                    <a:pt x="150" y="82"/>
                    <a:pt x="150" y="79"/>
                    <a:pt x="150" y="75"/>
                  </a:cubicBezTo>
                  <a:cubicBezTo>
                    <a:pt x="150" y="53"/>
                    <a:pt x="141" y="34"/>
                    <a:pt x="126" y="20"/>
                  </a:cubicBezTo>
                  <a:close/>
                  <a:moveTo>
                    <a:pt x="104" y="109"/>
                  </a:moveTo>
                  <a:cubicBezTo>
                    <a:pt x="84" y="118"/>
                    <a:pt x="69" y="131"/>
                    <a:pt x="57" y="148"/>
                  </a:cubicBezTo>
                  <a:cubicBezTo>
                    <a:pt x="63" y="150"/>
                    <a:pt x="69" y="150"/>
                    <a:pt x="75" y="150"/>
                  </a:cubicBezTo>
                  <a:cubicBezTo>
                    <a:pt x="86" y="150"/>
                    <a:pt x="97" y="148"/>
                    <a:pt x="107" y="143"/>
                  </a:cubicBezTo>
                  <a:cubicBezTo>
                    <a:pt x="108" y="136"/>
                    <a:pt x="109" y="128"/>
                    <a:pt x="109" y="120"/>
                  </a:cubicBezTo>
                  <a:cubicBezTo>
                    <a:pt x="109" y="117"/>
                    <a:pt x="109" y="114"/>
                    <a:pt x="109" y="111"/>
                  </a:cubicBezTo>
                  <a:cubicBezTo>
                    <a:pt x="107" y="111"/>
                    <a:pt x="105" y="110"/>
                    <a:pt x="104" y="1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57" name="Group 56"/>
          <p:cNvGrpSpPr/>
          <p:nvPr/>
        </p:nvGrpSpPr>
        <p:grpSpPr>
          <a:xfrm>
            <a:off x="8089911" y="103561"/>
            <a:ext cx="548640" cy="548640"/>
            <a:chOff x="6565911" y="103561"/>
            <a:chExt cx="548640" cy="548640"/>
          </a:xfrm>
        </p:grpSpPr>
        <p:sp>
          <p:nvSpPr>
            <p:cNvPr id="70" name="Oval 69"/>
            <p:cNvSpPr/>
            <p:nvPr/>
          </p:nvSpPr>
          <p:spPr>
            <a:xfrm rot="774391">
              <a:off x="6565911" y="103561"/>
              <a:ext cx="548640" cy="548640"/>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71" name="Freeform 9"/>
            <p:cNvSpPr>
              <a:spLocks noChangeAspect="1" noEditPoints="1"/>
            </p:cNvSpPr>
            <p:nvPr/>
          </p:nvSpPr>
          <p:spPr bwMode="auto">
            <a:xfrm>
              <a:off x="6697328" y="202577"/>
              <a:ext cx="347149" cy="327697"/>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73" name="Group 72"/>
          <p:cNvGrpSpPr/>
          <p:nvPr/>
        </p:nvGrpSpPr>
        <p:grpSpPr>
          <a:xfrm>
            <a:off x="1884978" y="4472604"/>
            <a:ext cx="8317502" cy="526917"/>
            <a:chOff x="360978" y="3476447"/>
            <a:chExt cx="8317502" cy="526917"/>
          </a:xfrm>
        </p:grpSpPr>
        <p:sp>
          <p:nvSpPr>
            <p:cNvPr id="74" name="Isosceles Triangle 73"/>
            <p:cNvSpPr/>
            <p:nvPr/>
          </p:nvSpPr>
          <p:spPr bwMode="gray">
            <a:xfrm rot="10800000">
              <a:off x="360978" y="3476447"/>
              <a:ext cx="8317502" cy="526917"/>
            </a:xfrm>
            <a:prstGeom prst="triangl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nvGrpSpPr>
            <p:cNvPr id="75" name="Group 74"/>
            <p:cNvGrpSpPr/>
            <p:nvPr/>
          </p:nvGrpSpPr>
          <p:grpSpPr>
            <a:xfrm>
              <a:off x="1758590" y="3530234"/>
              <a:ext cx="5537455" cy="368601"/>
              <a:chOff x="2946094" y="3282799"/>
              <a:chExt cx="1271440" cy="1829438"/>
            </a:xfrm>
          </p:grpSpPr>
          <p:sp>
            <p:nvSpPr>
              <p:cNvPr id="76" name="Rounded Rectangle 75"/>
              <p:cNvSpPr/>
              <p:nvPr/>
            </p:nvSpPr>
            <p:spPr bwMode="gray">
              <a:xfrm>
                <a:off x="2950783" y="3282799"/>
                <a:ext cx="1266751" cy="1829438"/>
              </a:xfrm>
              <a:prstGeom prst="roundRect">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77" name="TextBox 76"/>
              <p:cNvSpPr txBox="1"/>
              <p:nvPr/>
            </p:nvSpPr>
            <p:spPr>
              <a:xfrm>
                <a:off x="2946094" y="3345802"/>
                <a:ext cx="1271440" cy="1680309"/>
              </a:xfrm>
              <a:prstGeom prst="rect">
                <a:avLst/>
              </a:prstGeom>
              <a:noFill/>
              <a:ln>
                <a:noFill/>
              </a:ln>
            </p:spPr>
            <p:txBody>
              <a:bodyPr wrap="square" lIns="0" tIns="0" rIns="0" bIns="0" rtlCol="0" anchor="ctr">
                <a:spAutoFit/>
              </a:bodyPr>
              <a:lstStyle/>
              <a:p>
                <a:pPr algn="ctr">
                  <a:spcAft>
                    <a:spcPts val="600"/>
                  </a:spcAft>
                  <a:buSzPct val="25000"/>
                </a:pPr>
                <a:r>
                  <a:rPr lang="en-US" sz="1100" dirty="0">
                    <a:solidFill>
                      <a:schemeClr val="tx2"/>
                    </a:solidFill>
                  </a:rPr>
                  <a:t>Professionals work with their Counselors to create a </a:t>
                </a:r>
                <a:r>
                  <a:rPr lang="en-US" sz="1100" b="1" dirty="0">
                    <a:solidFill>
                      <a:schemeClr val="tx2"/>
                    </a:solidFill>
                  </a:rPr>
                  <a:t>Personal Development Plan </a:t>
                </a:r>
                <a:r>
                  <a:rPr lang="en-US" sz="1100" dirty="0">
                    <a:solidFill>
                      <a:schemeClr val="tx2"/>
                    </a:solidFill>
                  </a:rPr>
                  <a:t>that addresses assessment results and supports their engagement role and career interests</a:t>
                </a:r>
              </a:p>
            </p:txBody>
          </p:sp>
        </p:grpSp>
      </p:grpSp>
      <p:grpSp>
        <p:nvGrpSpPr>
          <p:cNvPr id="78" name="Group 77"/>
          <p:cNvGrpSpPr/>
          <p:nvPr/>
        </p:nvGrpSpPr>
        <p:grpSpPr>
          <a:xfrm>
            <a:off x="1889758" y="3249444"/>
            <a:ext cx="8317500" cy="1149062"/>
            <a:chOff x="365758" y="2037476"/>
            <a:chExt cx="8317500" cy="1149062"/>
          </a:xfrm>
        </p:grpSpPr>
        <p:sp>
          <p:nvSpPr>
            <p:cNvPr id="79" name="Rectangle 78"/>
            <p:cNvSpPr/>
            <p:nvPr/>
          </p:nvSpPr>
          <p:spPr bwMode="gray">
            <a:xfrm>
              <a:off x="365759" y="2163292"/>
              <a:ext cx="8317499" cy="1023246"/>
            </a:xfrm>
            <a:prstGeom prst="rect">
              <a:avLst/>
            </a:prstGeom>
            <a:noFill/>
            <a:ln w="38100" algn="ctr">
              <a:solidFill>
                <a:schemeClr val="accent1"/>
              </a:solidFill>
              <a:miter lim="800000"/>
              <a:headEnd/>
              <a:tailEnd/>
            </a:ln>
          </p:spPr>
          <p:txBody>
            <a:bodyPr wrap="square" lIns="88900" tIns="88900" rIns="88900" bIns="88900" rtlCol="0" anchor="t" anchorCtr="0"/>
            <a:lstStyle/>
            <a:p>
              <a:pPr marL="231775" indent="-171450">
                <a:spcAft>
                  <a:spcPts val="300"/>
                </a:spcAft>
                <a:buFont typeface="Wingdings" panose="05000000000000000000" pitchFamily="2" charset="2"/>
                <a:buChar char="§"/>
              </a:pPr>
              <a:endParaRPr lang="en-US" sz="1200" b="1" dirty="0">
                <a:solidFill>
                  <a:srgbClr val="313131"/>
                </a:solidFill>
              </a:endParaRPr>
            </a:p>
          </p:txBody>
        </p:sp>
        <p:sp>
          <p:nvSpPr>
            <p:cNvPr id="80" name="Rectangle 79"/>
            <p:cNvSpPr/>
            <p:nvPr/>
          </p:nvSpPr>
          <p:spPr bwMode="gray">
            <a:xfrm>
              <a:off x="3511252" y="2066907"/>
              <a:ext cx="2038814" cy="256148"/>
            </a:xfrm>
            <a:prstGeom prst="rect">
              <a:avLst/>
            </a:prstGeom>
            <a:solidFill>
              <a:schemeClr val="accent1"/>
            </a:solidFill>
            <a:ln w="38100" algn="ctr">
              <a:solidFill>
                <a:schemeClr val="accent1"/>
              </a:solidFill>
              <a:miter lim="800000"/>
              <a:headEnd/>
              <a:tailEnd/>
            </a:ln>
          </p:spPr>
          <p:txBody>
            <a:bodyPr wrap="square" lIns="88900" tIns="88900" rIns="88900" bIns="88900" rtlCol="0" anchor="ctr" anchorCtr="0"/>
            <a:lstStyle/>
            <a:p>
              <a:pPr marL="320040" lvl="1" algn="ctr">
                <a:lnSpc>
                  <a:spcPct val="106000"/>
                </a:lnSpc>
              </a:pPr>
              <a:r>
                <a:rPr lang="en-US" sz="1100" b="1" dirty="0">
                  <a:solidFill>
                    <a:prstClr val="white"/>
                  </a:solidFill>
                </a:rPr>
                <a:t>Capability Assessment</a:t>
              </a:r>
            </a:p>
          </p:txBody>
        </p:sp>
        <p:sp>
          <p:nvSpPr>
            <p:cNvPr id="81" name="Rectangle 80"/>
            <p:cNvSpPr/>
            <p:nvPr/>
          </p:nvSpPr>
          <p:spPr>
            <a:xfrm>
              <a:off x="365758" y="2324816"/>
              <a:ext cx="8317500" cy="846386"/>
            </a:xfrm>
            <a:prstGeom prst="rect">
              <a:avLst/>
            </a:prstGeom>
          </p:spPr>
          <p:txBody>
            <a:bodyPr wrap="square">
              <a:spAutoFit/>
            </a:bodyPr>
            <a:lstStyle/>
            <a:p>
              <a:pPr marL="231775" indent="-171450">
                <a:spcAft>
                  <a:spcPts val="300"/>
                </a:spcAft>
                <a:buFont typeface="Arial" panose="020B0604020202020204" pitchFamily="34" charset="0"/>
                <a:buChar char="•"/>
              </a:pPr>
              <a:r>
                <a:rPr lang="en-US" sz="1100" dirty="0">
                  <a:solidFill>
                    <a:srgbClr val="313131"/>
                  </a:solidFill>
                </a:rPr>
                <a:t>Professionals’ capabilities can be measured at the start of the of the learning year through assessments that document skills, experiences and proficiency against career level expectations</a:t>
              </a:r>
            </a:p>
            <a:p>
              <a:pPr marL="231775" indent="-171450">
                <a:spcAft>
                  <a:spcPts val="300"/>
                </a:spcAft>
                <a:buFont typeface="Arial" panose="020B0604020202020204" pitchFamily="34" charset="0"/>
                <a:buChar char="•"/>
              </a:pPr>
              <a:r>
                <a:rPr lang="en-US" sz="1100" dirty="0">
                  <a:solidFill>
                    <a:srgbClr val="313131"/>
                  </a:solidFill>
                </a:rPr>
                <a:t>For specific content areas, professionals could “test out” of courses by demonstrating their capabilities via a robust assessment</a:t>
              </a:r>
            </a:p>
            <a:p>
              <a:pPr marL="231775" indent="-171450">
                <a:spcAft>
                  <a:spcPts val="300"/>
                </a:spcAft>
                <a:buFont typeface="Arial" panose="020B0604020202020204" pitchFamily="34" charset="0"/>
                <a:buChar char="•"/>
              </a:pPr>
              <a:r>
                <a:rPr lang="en-US" sz="1100" dirty="0">
                  <a:solidFill>
                    <a:schemeClr val="tx2"/>
                  </a:solidFill>
                </a:rPr>
                <a:t>Assessment results link to courses and on-the-job learning activities learners use to create their Personal Development Plans</a:t>
              </a:r>
            </a:p>
          </p:txBody>
        </p:sp>
        <p:grpSp>
          <p:nvGrpSpPr>
            <p:cNvPr id="82" name="Group 81"/>
            <p:cNvGrpSpPr/>
            <p:nvPr/>
          </p:nvGrpSpPr>
          <p:grpSpPr>
            <a:xfrm>
              <a:off x="3555644" y="2037476"/>
              <a:ext cx="320040" cy="320040"/>
              <a:chOff x="6565911" y="103561"/>
              <a:chExt cx="548640" cy="548640"/>
            </a:xfrm>
          </p:grpSpPr>
          <p:sp>
            <p:nvSpPr>
              <p:cNvPr id="83" name="Oval 82"/>
              <p:cNvSpPr/>
              <p:nvPr/>
            </p:nvSpPr>
            <p:spPr>
              <a:xfrm rot="774391">
                <a:off x="6565911" y="103561"/>
                <a:ext cx="548640" cy="548640"/>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84" name="Freeform 9"/>
              <p:cNvSpPr>
                <a:spLocks noChangeAspect="1" noEditPoints="1"/>
              </p:cNvSpPr>
              <p:nvPr/>
            </p:nvSpPr>
            <p:spPr bwMode="auto">
              <a:xfrm>
                <a:off x="6697328" y="202577"/>
                <a:ext cx="347149" cy="327697"/>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grpSp>
        <p:nvGrpSpPr>
          <p:cNvPr id="2" name="Group 1"/>
          <p:cNvGrpSpPr/>
          <p:nvPr/>
        </p:nvGrpSpPr>
        <p:grpSpPr>
          <a:xfrm>
            <a:off x="1889758" y="5007560"/>
            <a:ext cx="8317501" cy="1225822"/>
            <a:chOff x="365757" y="4945414"/>
            <a:chExt cx="8317501" cy="1225822"/>
          </a:xfrm>
        </p:grpSpPr>
        <p:sp>
          <p:nvSpPr>
            <p:cNvPr id="72" name="Rectangle 71"/>
            <p:cNvSpPr/>
            <p:nvPr/>
          </p:nvSpPr>
          <p:spPr bwMode="gray">
            <a:xfrm>
              <a:off x="365757" y="4945414"/>
              <a:ext cx="8317501" cy="122582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nvGrpSpPr>
            <p:cNvPr id="85" name="Group 84"/>
            <p:cNvGrpSpPr/>
            <p:nvPr/>
          </p:nvGrpSpPr>
          <p:grpSpPr>
            <a:xfrm>
              <a:off x="519535" y="5340242"/>
              <a:ext cx="8015564" cy="746536"/>
              <a:chOff x="472334" y="3741429"/>
              <a:chExt cx="8015564" cy="746536"/>
            </a:xfrm>
          </p:grpSpPr>
          <p:sp>
            <p:nvSpPr>
              <p:cNvPr id="86" name="Rectangle 85"/>
              <p:cNvSpPr/>
              <p:nvPr/>
            </p:nvSpPr>
            <p:spPr bwMode="gray">
              <a:xfrm>
                <a:off x="472334" y="3910616"/>
                <a:ext cx="3867876" cy="577349"/>
              </a:xfrm>
              <a:prstGeom prst="rect">
                <a:avLst/>
              </a:prstGeom>
              <a:solidFill>
                <a:schemeClr val="bg1"/>
              </a:solidFill>
              <a:ln w="38100" algn="ctr">
                <a:solidFill>
                  <a:schemeClr val="accent1"/>
                </a:solidFill>
                <a:miter lim="800000"/>
                <a:headEnd/>
                <a:tailEnd/>
              </a:ln>
            </p:spPr>
            <p:txBody>
              <a:bodyPr wrap="square" lIns="88900" tIns="88900" rIns="88900" bIns="88900" rtlCol="0" anchor="t" anchorCtr="0"/>
              <a:lstStyle/>
              <a:p>
                <a:pPr marL="231775" indent="-171450">
                  <a:spcAft>
                    <a:spcPts val="300"/>
                  </a:spcAft>
                  <a:buFont typeface="Wingdings" panose="05000000000000000000" pitchFamily="2" charset="2"/>
                  <a:buChar char="§"/>
                </a:pPr>
                <a:endParaRPr lang="en-US" sz="1200" b="1" dirty="0">
                  <a:solidFill>
                    <a:srgbClr val="313131"/>
                  </a:solidFill>
                </a:endParaRPr>
              </a:p>
            </p:txBody>
          </p:sp>
          <p:sp>
            <p:nvSpPr>
              <p:cNvPr id="87" name="Rectangle 86"/>
              <p:cNvSpPr/>
              <p:nvPr/>
            </p:nvSpPr>
            <p:spPr bwMode="gray">
              <a:xfrm>
                <a:off x="4620022" y="3911998"/>
                <a:ext cx="3867876" cy="573661"/>
              </a:xfrm>
              <a:prstGeom prst="rect">
                <a:avLst/>
              </a:prstGeom>
              <a:solidFill>
                <a:schemeClr val="bg1"/>
              </a:solidFill>
              <a:ln w="38100" algn="ctr">
                <a:solidFill>
                  <a:schemeClr val="accent1"/>
                </a:solidFill>
                <a:miter lim="800000"/>
                <a:headEnd/>
                <a:tailEnd/>
              </a:ln>
            </p:spPr>
            <p:txBody>
              <a:bodyPr wrap="square" lIns="88900" tIns="88900" rIns="88900" bIns="88900" rtlCol="0" anchor="t" anchorCtr="0"/>
              <a:lstStyle/>
              <a:p>
                <a:pPr marL="231775" indent="-171450">
                  <a:spcAft>
                    <a:spcPts val="300"/>
                  </a:spcAft>
                  <a:buFont typeface="Wingdings" panose="05000000000000000000" pitchFamily="2" charset="2"/>
                  <a:buChar char="§"/>
                </a:pPr>
                <a:endParaRPr lang="en-US" sz="1200" b="1" dirty="0">
                  <a:solidFill>
                    <a:srgbClr val="313131"/>
                  </a:solidFill>
                </a:endParaRPr>
              </a:p>
            </p:txBody>
          </p:sp>
          <p:sp>
            <p:nvSpPr>
              <p:cNvPr id="88" name="Rectangle 87"/>
              <p:cNvSpPr/>
              <p:nvPr/>
            </p:nvSpPr>
            <p:spPr bwMode="gray">
              <a:xfrm>
                <a:off x="1255174" y="3812396"/>
                <a:ext cx="2201165" cy="217753"/>
              </a:xfrm>
              <a:prstGeom prst="rect">
                <a:avLst/>
              </a:prstGeom>
              <a:solidFill>
                <a:schemeClr val="accent1"/>
              </a:solidFill>
              <a:ln w="38100" algn="ctr">
                <a:solidFill>
                  <a:schemeClr val="accent1"/>
                </a:solidFill>
                <a:miter lim="800000"/>
                <a:headEnd/>
                <a:tailEnd/>
              </a:ln>
            </p:spPr>
            <p:txBody>
              <a:bodyPr wrap="square" lIns="88900" tIns="88900" rIns="88900" bIns="88900" rtlCol="0" anchor="ctr" anchorCtr="0"/>
              <a:lstStyle/>
              <a:p>
                <a:pPr marL="274320" lvl="1" algn="ctr">
                  <a:lnSpc>
                    <a:spcPct val="106000"/>
                  </a:lnSpc>
                </a:pPr>
                <a:r>
                  <a:rPr lang="en-US" sz="1100" b="1" dirty="0">
                    <a:solidFill>
                      <a:prstClr val="white"/>
                    </a:solidFill>
                  </a:rPr>
                  <a:t>Elective Courses</a:t>
                </a:r>
              </a:p>
            </p:txBody>
          </p:sp>
          <p:grpSp>
            <p:nvGrpSpPr>
              <p:cNvPr id="89" name="Group 88"/>
              <p:cNvGrpSpPr/>
              <p:nvPr/>
            </p:nvGrpSpPr>
            <p:grpSpPr>
              <a:xfrm>
                <a:off x="1315041" y="3760228"/>
                <a:ext cx="320040" cy="320040"/>
                <a:chOff x="5833566" y="2509318"/>
                <a:chExt cx="754756" cy="754756"/>
              </a:xfrm>
            </p:grpSpPr>
            <p:sp>
              <p:nvSpPr>
                <p:cNvPr id="96" name="Oval 95"/>
                <p:cNvSpPr/>
                <p:nvPr/>
              </p:nvSpPr>
              <p:spPr>
                <a:xfrm rot="4342465">
                  <a:off x="5833566" y="2509318"/>
                  <a:ext cx="754756" cy="754756"/>
                </a:xfrm>
                <a:prstGeom prst="ellipse">
                  <a:avLst/>
                </a:prstGeom>
                <a:solidFill>
                  <a:srgbClr val="002776"/>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97" name="Freeform 73"/>
                <p:cNvSpPr>
                  <a:spLocks noChangeAspect="1" noEditPoints="1"/>
                </p:cNvSpPr>
                <p:nvPr/>
              </p:nvSpPr>
              <p:spPr bwMode="auto">
                <a:xfrm>
                  <a:off x="5969167" y="2836966"/>
                  <a:ext cx="476475" cy="182880"/>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90" name="Rectangle 89"/>
              <p:cNvSpPr/>
              <p:nvPr/>
            </p:nvSpPr>
            <p:spPr bwMode="gray">
              <a:xfrm>
                <a:off x="5318410" y="3793053"/>
                <a:ext cx="2201165" cy="219456"/>
              </a:xfrm>
              <a:prstGeom prst="rect">
                <a:avLst/>
              </a:prstGeom>
              <a:solidFill>
                <a:schemeClr val="accent1"/>
              </a:solidFill>
              <a:ln w="38100" algn="ctr">
                <a:solidFill>
                  <a:schemeClr val="accent1"/>
                </a:solidFill>
                <a:miter lim="800000"/>
                <a:headEnd/>
                <a:tailEnd/>
              </a:ln>
            </p:spPr>
            <p:txBody>
              <a:bodyPr wrap="square" lIns="88900" tIns="88900" rIns="88900" bIns="88900" rtlCol="0" anchor="ctr" anchorCtr="0"/>
              <a:lstStyle/>
              <a:p>
                <a:pPr marL="274320" lvl="1" algn="ctr">
                  <a:lnSpc>
                    <a:spcPct val="106000"/>
                  </a:lnSpc>
                </a:pPr>
                <a:r>
                  <a:rPr lang="en-US" sz="1100" b="1" dirty="0">
                    <a:solidFill>
                      <a:prstClr val="white"/>
                    </a:solidFill>
                  </a:rPr>
                  <a:t>Experience &amp; Exposure</a:t>
                </a:r>
              </a:p>
            </p:txBody>
          </p:sp>
          <p:grpSp>
            <p:nvGrpSpPr>
              <p:cNvPr id="91" name="Group 90"/>
              <p:cNvGrpSpPr/>
              <p:nvPr/>
            </p:nvGrpSpPr>
            <p:grpSpPr>
              <a:xfrm>
                <a:off x="5381065" y="3741429"/>
                <a:ext cx="320040" cy="320040"/>
                <a:chOff x="12275683" y="-681538"/>
                <a:chExt cx="754756" cy="754756"/>
              </a:xfrm>
            </p:grpSpPr>
            <p:sp>
              <p:nvSpPr>
                <p:cNvPr id="94" name="Oval 93"/>
                <p:cNvSpPr/>
                <p:nvPr/>
              </p:nvSpPr>
              <p:spPr>
                <a:xfrm rot="12143762">
                  <a:off x="12275683" y="-681538"/>
                  <a:ext cx="754756" cy="754756"/>
                </a:xfrm>
                <a:prstGeom prst="ellipse">
                  <a:avLst/>
                </a:prstGeom>
                <a:solidFill>
                  <a:srgbClr val="002776"/>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95" name="Freeform 83"/>
                <p:cNvSpPr>
                  <a:spLocks noChangeAspect="1" noEditPoints="1"/>
                </p:cNvSpPr>
                <p:nvPr/>
              </p:nvSpPr>
              <p:spPr bwMode="auto">
                <a:xfrm>
                  <a:off x="12417887" y="-524937"/>
                  <a:ext cx="457200" cy="422792"/>
                </a:xfrm>
                <a:custGeom>
                  <a:avLst/>
                  <a:gdLst>
                    <a:gd name="T0" fmla="*/ 37 w 150"/>
                    <a:gd name="T1" fmla="*/ 50 h 150"/>
                    <a:gd name="T2" fmla="*/ 41 w 150"/>
                    <a:gd name="T3" fmla="*/ 51 h 150"/>
                    <a:gd name="T4" fmla="*/ 60 w 150"/>
                    <a:gd name="T5" fmla="*/ 34 h 150"/>
                    <a:gd name="T6" fmla="*/ 59 w 150"/>
                    <a:gd name="T7" fmla="*/ 30 h 150"/>
                    <a:gd name="T8" fmla="*/ 60 w 150"/>
                    <a:gd name="T9" fmla="*/ 25 h 150"/>
                    <a:gd name="T10" fmla="*/ 36 w 150"/>
                    <a:gd name="T11" fmla="*/ 12 h 150"/>
                    <a:gd name="T12" fmla="*/ 15 w 150"/>
                    <a:gd name="T13" fmla="*/ 31 h 150"/>
                    <a:gd name="T14" fmla="*/ 30 w 150"/>
                    <a:gd name="T15" fmla="*/ 52 h 150"/>
                    <a:gd name="T16" fmla="*/ 37 w 150"/>
                    <a:gd name="T17" fmla="*/ 50 h 150"/>
                    <a:gd name="T18" fmla="*/ 21 w 150"/>
                    <a:gd name="T19" fmla="*/ 66 h 150"/>
                    <a:gd name="T20" fmla="*/ 22 w 150"/>
                    <a:gd name="T21" fmla="*/ 60 h 150"/>
                    <a:gd name="T22" fmla="*/ 8 w 150"/>
                    <a:gd name="T23" fmla="*/ 42 h 150"/>
                    <a:gd name="T24" fmla="*/ 0 w 150"/>
                    <a:gd name="T25" fmla="*/ 75 h 150"/>
                    <a:gd name="T26" fmla="*/ 11 w 150"/>
                    <a:gd name="T27" fmla="*/ 114 h 150"/>
                    <a:gd name="T28" fmla="*/ 24 w 150"/>
                    <a:gd name="T29" fmla="*/ 76 h 150"/>
                    <a:gd name="T30" fmla="*/ 21 w 150"/>
                    <a:gd name="T31" fmla="*/ 66 h 150"/>
                    <a:gd name="T32" fmla="*/ 75 w 150"/>
                    <a:gd name="T33" fmla="*/ 14 h 150"/>
                    <a:gd name="T34" fmla="*/ 86 w 150"/>
                    <a:gd name="T35" fmla="*/ 18 h 150"/>
                    <a:gd name="T36" fmla="*/ 113 w 150"/>
                    <a:gd name="T37" fmla="*/ 10 h 150"/>
                    <a:gd name="T38" fmla="*/ 75 w 150"/>
                    <a:gd name="T39" fmla="*/ 0 h 150"/>
                    <a:gd name="T40" fmla="*/ 49 w 150"/>
                    <a:gd name="T41" fmla="*/ 5 h 150"/>
                    <a:gd name="T42" fmla="*/ 67 w 150"/>
                    <a:gd name="T43" fmla="*/ 16 h 150"/>
                    <a:gd name="T44" fmla="*/ 75 w 150"/>
                    <a:gd name="T45" fmla="*/ 14 h 150"/>
                    <a:gd name="T46" fmla="*/ 99 w 150"/>
                    <a:gd name="T47" fmla="*/ 89 h 150"/>
                    <a:gd name="T48" fmla="*/ 103 w 150"/>
                    <a:gd name="T49" fmla="*/ 84 h 150"/>
                    <a:gd name="T50" fmla="*/ 82 w 150"/>
                    <a:gd name="T51" fmla="*/ 45 h 150"/>
                    <a:gd name="T52" fmla="*/ 75 w 150"/>
                    <a:gd name="T53" fmla="*/ 46 h 150"/>
                    <a:gd name="T54" fmla="*/ 66 w 150"/>
                    <a:gd name="T55" fmla="*/ 43 h 150"/>
                    <a:gd name="T56" fmla="*/ 50 w 150"/>
                    <a:gd name="T57" fmla="*/ 58 h 150"/>
                    <a:gd name="T58" fmla="*/ 53 w 150"/>
                    <a:gd name="T59" fmla="*/ 66 h 150"/>
                    <a:gd name="T60" fmla="*/ 52 w 150"/>
                    <a:gd name="T61" fmla="*/ 71 h 150"/>
                    <a:gd name="T62" fmla="*/ 99 w 150"/>
                    <a:gd name="T63" fmla="*/ 89 h 150"/>
                    <a:gd name="T64" fmla="*/ 120 w 150"/>
                    <a:gd name="T65" fmla="*/ 111 h 150"/>
                    <a:gd name="T66" fmla="*/ 120 w 150"/>
                    <a:gd name="T67" fmla="*/ 120 h 150"/>
                    <a:gd name="T68" fmla="*/ 119 w 150"/>
                    <a:gd name="T69" fmla="*/ 136 h 150"/>
                    <a:gd name="T70" fmla="*/ 147 w 150"/>
                    <a:gd name="T71" fmla="*/ 98 h 150"/>
                    <a:gd name="T72" fmla="*/ 129 w 150"/>
                    <a:gd name="T73" fmla="*/ 101 h 150"/>
                    <a:gd name="T74" fmla="*/ 120 w 150"/>
                    <a:gd name="T75" fmla="*/ 111 h 150"/>
                    <a:gd name="T76" fmla="*/ 96 w 150"/>
                    <a:gd name="T77" fmla="*/ 100 h 150"/>
                    <a:gd name="T78" fmla="*/ 45 w 150"/>
                    <a:gd name="T79" fmla="*/ 80 h 150"/>
                    <a:gd name="T80" fmla="*/ 37 w 150"/>
                    <a:gd name="T81" fmla="*/ 82 h 150"/>
                    <a:gd name="T82" fmla="*/ 33 w 150"/>
                    <a:gd name="T83" fmla="*/ 82 h 150"/>
                    <a:gd name="T84" fmla="*/ 20 w 150"/>
                    <a:gd name="T85" fmla="*/ 127 h 150"/>
                    <a:gd name="T86" fmla="*/ 46 w 150"/>
                    <a:gd name="T87" fmla="*/ 145 h 150"/>
                    <a:gd name="T88" fmla="*/ 96 w 150"/>
                    <a:gd name="T89" fmla="*/ 100 h 150"/>
                    <a:gd name="T90" fmla="*/ 126 w 150"/>
                    <a:gd name="T91" fmla="*/ 20 h 150"/>
                    <a:gd name="T92" fmla="*/ 91 w 150"/>
                    <a:gd name="T93" fmla="*/ 28 h 150"/>
                    <a:gd name="T94" fmla="*/ 91 w 150"/>
                    <a:gd name="T95" fmla="*/ 30 h 150"/>
                    <a:gd name="T96" fmla="*/ 90 w 150"/>
                    <a:gd name="T97" fmla="*/ 37 h 150"/>
                    <a:gd name="T98" fmla="*/ 114 w 150"/>
                    <a:gd name="T99" fmla="*/ 80 h 150"/>
                    <a:gd name="T100" fmla="*/ 128 w 150"/>
                    <a:gd name="T101" fmla="*/ 90 h 150"/>
                    <a:gd name="T102" fmla="*/ 149 w 150"/>
                    <a:gd name="T103" fmla="*/ 86 h 150"/>
                    <a:gd name="T104" fmla="*/ 150 w 150"/>
                    <a:gd name="T105" fmla="*/ 75 h 150"/>
                    <a:gd name="T106" fmla="*/ 126 w 150"/>
                    <a:gd name="T107" fmla="*/ 20 h 150"/>
                    <a:gd name="T108" fmla="*/ 104 w 150"/>
                    <a:gd name="T109" fmla="*/ 109 h 150"/>
                    <a:gd name="T110" fmla="*/ 57 w 150"/>
                    <a:gd name="T111" fmla="*/ 148 h 150"/>
                    <a:gd name="T112" fmla="*/ 75 w 150"/>
                    <a:gd name="T113" fmla="*/ 150 h 150"/>
                    <a:gd name="T114" fmla="*/ 107 w 150"/>
                    <a:gd name="T115" fmla="*/ 143 h 150"/>
                    <a:gd name="T116" fmla="*/ 109 w 150"/>
                    <a:gd name="T117" fmla="*/ 120 h 150"/>
                    <a:gd name="T118" fmla="*/ 109 w 150"/>
                    <a:gd name="T119" fmla="*/ 111 h 150"/>
                    <a:gd name="T120" fmla="*/ 104 w 150"/>
                    <a:gd name="T121" fmla="*/ 10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37" y="50"/>
                      </a:moveTo>
                      <a:cubicBezTo>
                        <a:pt x="38" y="50"/>
                        <a:pt x="40" y="50"/>
                        <a:pt x="41" y="51"/>
                      </a:cubicBezTo>
                      <a:cubicBezTo>
                        <a:pt x="47" y="45"/>
                        <a:pt x="53" y="39"/>
                        <a:pt x="60" y="34"/>
                      </a:cubicBezTo>
                      <a:cubicBezTo>
                        <a:pt x="60" y="33"/>
                        <a:pt x="59" y="31"/>
                        <a:pt x="59" y="30"/>
                      </a:cubicBezTo>
                      <a:cubicBezTo>
                        <a:pt x="59" y="28"/>
                        <a:pt x="60" y="27"/>
                        <a:pt x="60" y="25"/>
                      </a:cubicBezTo>
                      <a:cubicBezTo>
                        <a:pt x="53" y="20"/>
                        <a:pt x="45" y="15"/>
                        <a:pt x="36" y="12"/>
                      </a:cubicBezTo>
                      <a:cubicBezTo>
                        <a:pt x="28" y="17"/>
                        <a:pt x="20" y="23"/>
                        <a:pt x="15" y="31"/>
                      </a:cubicBezTo>
                      <a:cubicBezTo>
                        <a:pt x="19" y="38"/>
                        <a:pt x="24" y="45"/>
                        <a:pt x="30" y="52"/>
                      </a:cubicBezTo>
                      <a:cubicBezTo>
                        <a:pt x="32" y="51"/>
                        <a:pt x="34" y="50"/>
                        <a:pt x="37" y="50"/>
                      </a:cubicBezTo>
                      <a:close/>
                      <a:moveTo>
                        <a:pt x="21" y="66"/>
                      </a:moveTo>
                      <a:cubicBezTo>
                        <a:pt x="21" y="64"/>
                        <a:pt x="21" y="62"/>
                        <a:pt x="22" y="60"/>
                      </a:cubicBezTo>
                      <a:cubicBezTo>
                        <a:pt x="17" y="54"/>
                        <a:pt x="12" y="48"/>
                        <a:pt x="8" y="42"/>
                      </a:cubicBezTo>
                      <a:cubicBezTo>
                        <a:pt x="3" y="52"/>
                        <a:pt x="0" y="63"/>
                        <a:pt x="0" y="75"/>
                      </a:cubicBezTo>
                      <a:cubicBezTo>
                        <a:pt x="0" y="89"/>
                        <a:pt x="4" y="103"/>
                        <a:pt x="11" y="114"/>
                      </a:cubicBezTo>
                      <a:cubicBezTo>
                        <a:pt x="13" y="100"/>
                        <a:pt x="18" y="88"/>
                        <a:pt x="24" y="76"/>
                      </a:cubicBezTo>
                      <a:cubicBezTo>
                        <a:pt x="22" y="73"/>
                        <a:pt x="21" y="70"/>
                        <a:pt x="21" y="66"/>
                      </a:cubicBezTo>
                      <a:close/>
                      <a:moveTo>
                        <a:pt x="75" y="14"/>
                      </a:moveTo>
                      <a:cubicBezTo>
                        <a:pt x="80" y="14"/>
                        <a:pt x="83" y="16"/>
                        <a:pt x="86" y="18"/>
                      </a:cubicBezTo>
                      <a:cubicBezTo>
                        <a:pt x="95" y="15"/>
                        <a:pt x="103" y="12"/>
                        <a:pt x="113" y="10"/>
                      </a:cubicBezTo>
                      <a:cubicBezTo>
                        <a:pt x="102" y="4"/>
                        <a:pt x="89" y="0"/>
                        <a:pt x="75" y="0"/>
                      </a:cubicBezTo>
                      <a:cubicBezTo>
                        <a:pt x="66" y="0"/>
                        <a:pt x="57" y="2"/>
                        <a:pt x="49" y="5"/>
                      </a:cubicBezTo>
                      <a:cubicBezTo>
                        <a:pt x="55" y="8"/>
                        <a:pt x="61" y="12"/>
                        <a:pt x="67" y="16"/>
                      </a:cubicBezTo>
                      <a:cubicBezTo>
                        <a:pt x="70" y="15"/>
                        <a:pt x="72" y="14"/>
                        <a:pt x="75" y="14"/>
                      </a:cubicBezTo>
                      <a:close/>
                      <a:moveTo>
                        <a:pt x="99" y="89"/>
                      </a:moveTo>
                      <a:cubicBezTo>
                        <a:pt x="100" y="87"/>
                        <a:pt x="102" y="85"/>
                        <a:pt x="103" y="84"/>
                      </a:cubicBezTo>
                      <a:cubicBezTo>
                        <a:pt x="99" y="69"/>
                        <a:pt x="91" y="56"/>
                        <a:pt x="82" y="45"/>
                      </a:cubicBezTo>
                      <a:cubicBezTo>
                        <a:pt x="80" y="46"/>
                        <a:pt x="78" y="46"/>
                        <a:pt x="75" y="46"/>
                      </a:cubicBezTo>
                      <a:cubicBezTo>
                        <a:pt x="72" y="46"/>
                        <a:pt x="69" y="45"/>
                        <a:pt x="66" y="43"/>
                      </a:cubicBezTo>
                      <a:cubicBezTo>
                        <a:pt x="60" y="47"/>
                        <a:pt x="55" y="52"/>
                        <a:pt x="50" y="58"/>
                      </a:cubicBezTo>
                      <a:cubicBezTo>
                        <a:pt x="52" y="60"/>
                        <a:pt x="53" y="63"/>
                        <a:pt x="53" y="66"/>
                      </a:cubicBezTo>
                      <a:cubicBezTo>
                        <a:pt x="53" y="68"/>
                        <a:pt x="52" y="69"/>
                        <a:pt x="52" y="71"/>
                      </a:cubicBezTo>
                      <a:cubicBezTo>
                        <a:pt x="66" y="80"/>
                        <a:pt x="82" y="87"/>
                        <a:pt x="99" y="89"/>
                      </a:cubicBezTo>
                      <a:close/>
                      <a:moveTo>
                        <a:pt x="120" y="111"/>
                      </a:moveTo>
                      <a:cubicBezTo>
                        <a:pt x="120" y="114"/>
                        <a:pt x="120" y="117"/>
                        <a:pt x="120" y="120"/>
                      </a:cubicBezTo>
                      <a:cubicBezTo>
                        <a:pt x="120" y="125"/>
                        <a:pt x="120" y="131"/>
                        <a:pt x="119" y="136"/>
                      </a:cubicBezTo>
                      <a:cubicBezTo>
                        <a:pt x="132" y="127"/>
                        <a:pt x="142" y="114"/>
                        <a:pt x="147" y="98"/>
                      </a:cubicBezTo>
                      <a:cubicBezTo>
                        <a:pt x="141" y="100"/>
                        <a:pt x="135" y="101"/>
                        <a:pt x="129" y="101"/>
                      </a:cubicBezTo>
                      <a:cubicBezTo>
                        <a:pt x="127" y="106"/>
                        <a:pt x="124" y="109"/>
                        <a:pt x="120" y="111"/>
                      </a:cubicBezTo>
                      <a:close/>
                      <a:moveTo>
                        <a:pt x="96" y="100"/>
                      </a:moveTo>
                      <a:cubicBezTo>
                        <a:pt x="77" y="97"/>
                        <a:pt x="60" y="90"/>
                        <a:pt x="45" y="80"/>
                      </a:cubicBezTo>
                      <a:cubicBezTo>
                        <a:pt x="43" y="81"/>
                        <a:pt x="40" y="82"/>
                        <a:pt x="37" y="82"/>
                      </a:cubicBezTo>
                      <a:cubicBezTo>
                        <a:pt x="35" y="82"/>
                        <a:pt x="34" y="82"/>
                        <a:pt x="33" y="82"/>
                      </a:cubicBezTo>
                      <a:cubicBezTo>
                        <a:pt x="26" y="95"/>
                        <a:pt x="22" y="111"/>
                        <a:pt x="20" y="127"/>
                      </a:cubicBezTo>
                      <a:cubicBezTo>
                        <a:pt x="27" y="134"/>
                        <a:pt x="36" y="140"/>
                        <a:pt x="46" y="145"/>
                      </a:cubicBezTo>
                      <a:cubicBezTo>
                        <a:pt x="58" y="126"/>
                        <a:pt x="75" y="110"/>
                        <a:pt x="96" y="100"/>
                      </a:cubicBezTo>
                      <a:close/>
                      <a:moveTo>
                        <a:pt x="126" y="20"/>
                      </a:moveTo>
                      <a:cubicBezTo>
                        <a:pt x="114" y="21"/>
                        <a:pt x="102" y="24"/>
                        <a:pt x="91" y="28"/>
                      </a:cubicBezTo>
                      <a:cubicBezTo>
                        <a:pt x="91" y="29"/>
                        <a:pt x="91" y="30"/>
                        <a:pt x="91" y="30"/>
                      </a:cubicBezTo>
                      <a:cubicBezTo>
                        <a:pt x="91" y="33"/>
                        <a:pt x="91" y="35"/>
                        <a:pt x="90" y="37"/>
                      </a:cubicBezTo>
                      <a:cubicBezTo>
                        <a:pt x="100" y="50"/>
                        <a:pt x="109" y="64"/>
                        <a:pt x="114" y="80"/>
                      </a:cubicBezTo>
                      <a:cubicBezTo>
                        <a:pt x="120" y="80"/>
                        <a:pt x="126" y="84"/>
                        <a:pt x="128" y="90"/>
                      </a:cubicBezTo>
                      <a:cubicBezTo>
                        <a:pt x="136" y="89"/>
                        <a:pt x="143" y="88"/>
                        <a:pt x="149" y="86"/>
                      </a:cubicBezTo>
                      <a:cubicBezTo>
                        <a:pt x="150" y="82"/>
                        <a:pt x="150" y="79"/>
                        <a:pt x="150" y="75"/>
                      </a:cubicBezTo>
                      <a:cubicBezTo>
                        <a:pt x="150" y="53"/>
                        <a:pt x="141" y="34"/>
                        <a:pt x="126" y="20"/>
                      </a:cubicBezTo>
                      <a:close/>
                      <a:moveTo>
                        <a:pt x="104" y="109"/>
                      </a:moveTo>
                      <a:cubicBezTo>
                        <a:pt x="84" y="118"/>
                        <a:pt x="69" y="131"/>
                        <a:pt x="57" y="148"/>
                      </a:cubicBezTo>
                      <a:cubicBezTo>
                        <a:pt x="63" y="150"/>
                        <a:pt x="69" y="150"/>
                        <a:pt x="75" y="150"/>
                      </a:cubicBezTo>
                      <a:cubicBezTo>
                        <a:pt x="86" y="150"/>
                        <a:pt x="97" y="148"/>
                        <a:pt x="107" y="143"/>
                      </a:cubicBezTo>
                      <a:cubicBezTo>
                        <a:pt x="108" y="136"/>
                        <a:pt x="109" y="128"/>
                        <a:pt x="109" y="120"/>
                      </a:cubicBezTo>
                      <a:cubicBezTo>
                        <a:pt x="109" y="117"/>
                        <a:pt x="109" y="114"/>
                        <a:pt x="109" y="111"/>
                      </a:cubicBezTo>
                      <a:cubicBezTo>
                        <a:pt x="107" y="111"/>
                        <a:pt x="105" y="110"/>
                        <a:pt x="104" y="1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92" name="Rectangle 91"/>
              <p:cNvSpPr/>
              <p:nvPr/>
            </p:nvSpPr>
            <p:spPr>
              <a:xfrm>
                <a:off x="4620023" y="4029934"/>
                <a:ext cx="3867875" cy="430887"/>
              </a:xfrm>
              <a:prstGeom prst="rect">
                <a:avLst/>
              </a:prstGeom>
            </p:spPr>
            <p:txBody>
              <a:bodyPr wrap="square">
                <a:spAutoFit/>
              </a:bodyPr>
              <a:lstStyle/>
              <a:p>
                <a:pPr>
                  <a:spcAft>
                    <a:spcPts val="300"/>
                  </a:spcAft>
                </a:pPr>
                <a:r>
                  <a:rPr lang="en-US" sz="1100" dirty="0">
                    <a:solidFill>
                      <a:srgbClr val="313131"/>
                    </a:solidFill>
                  </a:rPr>
                  <a:t>Planned activities and relationships that accelerate on-the-job learning, mentoring, and apprenticeship </a:t>
                </a:r>
              </a:p>
            </p:txBody>
          </p:sp>
          <p:sp>
            <p:nvSpPr>
              <p:cNvPr id="93" name="Rectangle 92"/>
              <p:cNvSpPr/>
              <p:nvPr/>
            </p:nvSpPr>
            <p:spPr>
              <a:xfrm>
                <a:off x="472334" y="4041970"/>
                <a:ext cx="3878141" cy="430887"/>
              </a:xfrm>
              <a:prstGeom prst="rect">
                <a:avLst/>
              </a:prstGeom>
            </p:spPr>
            <p:txBody>
              <a:bodyPr wrap="square">
                <a:spAutoFit/>
              </a:bodyPr>
              <a:lstStyle/>
              <a:p>
                <a:pPr>
                  <a:spcAft>
                    <a:spcPts val="300"/>
                  </a:spcAft>
                </a:pPr>
                <a:r>
                  <a:rPr lang="en-US" sz="1100" dirty="0">
                    <a:solidFill>
                      <a:prstClr val="black"/>
                    </a:solidFill>
                  </a:rPr>
                  <a:t>Elective offerings build depth and breadth based on assessment results, engagement role and career interests</a:t>
                </a:r>
              </a:p>
            </p:txBody>
          </p:sp>
        </p:grpSp>
        <p:grpSp>
          <p:nvGrpSpPr>
            <p:cNvPr id="98" name="Group 97"/>
            <p:cNvGrpSpPr/>
            <p:nvPr/>
          </p:nvGrpSpPr>
          <p:grpSpPr>
            <a:xfrm>
              <a:off x="3347560" y="5015698"/>
              <a:ext cx="2358054" cy="320040"/>
              <a:chOff x="5169637" y="1608589"/>
              <a:chExt cx="2358054" cy="320040"/>
            </a:xfrm>
          </p:grpSpPr>
          <p:sp>
            <p:nvSpPr>
              <p:cNvPr id="99" name="TextBox 98"/>
              <p:cNvSpPr txBox="1"/>
              <p:nvPr/>
            </p:nvSpPr>
            <p:spPr>
              <a:xfrm>
                <a:off x="5553218" y="1681388"/>
                <a:ext cx="1974473" cy="169277"/>
              </a:xfrm>
              <a:prstGeom prst="rect">
                <a:avLst/>
              </a:prstGeom>
              <a:noFill/>
            </p:spPr>
            <p:txBody>
              <a:bodyPr wrap="square" lIns="0" tIns="0" rIns="0" bIns="0" rtlCol="0">
                <a:spAutoFit/>
              </a:bodyPr>
              <a:lstStyle/>
              <a:p>
                <a:pPr>
                  <a:spcBef>
                    <a:spcPts val="1200"/>
                  </a:spcBef>
                  <a:buSzPct val="25000"/>
                </a:pPr>
                <a:r>
                  <a:rPr lang="en-US" sz="1100" b="1" dirty="0">
                    <a:solidFill>
                      <a:srgbClr val="002776"/>
                    </a:solidFill>
                  </a:rPr>
                  <a:t>Personal Development Plans</a:t>
                </a:r>
              </a:p>
            </p:txBody>
          </p:sp>
          <p:grpSp>
            <p:nvGrpSpPr>
              <p:cNvPr id="100" name="Group 99"/>
              <p:cNvGrpSpPr/>
              <p:nvPr/>
            </p:nvGrpSpPr>
            <p:grpSpPr>
              <a:xfrm>
                <a:off x="5169637" y="1608589"/>
                <a:ext cx="320040" cy="320040"/>
                <a:chOff x="5296346" y="652537"/>
                <a:chExt cx="754756" cy="754757"/>
              </a:xfrm>
            </p:grpSpPr>
            <p:sp>
              <p:nvSpPr>
                <p:cNvPr id="101" name="Oval 100"/>
                <p:cNvSpPr/>
                <p:nvPr/>
              </p:nvSpPr>
              <p:spPr>
                <a:xfrm rot="774391">
                  <a:off x="5296346" y="652537"/>
                  <a:ext cx="754756" cy="754757"/>
                </a:xfrm>
                <a:prstGeom prst="ellipse">
                  <a:avLst/>
                </a:prstGeom>
                <a:solidFill>
                  <a:schemeClr val="accent1"/>
                </a:solidFill>
                <a:ln w="12700" cap="flat" cmpd="sng" algn="ctr">
                  <a:solidFill>
                    <a:srgbClr val="FFFFFF"/>
                  </a:solidFill>
                  <a:prstDash val="solid"/>
                </a:ln>
                <a:effectLst/>
              </p:spPr>
              <p:txBody>
                <a:bodyPr rtlCol="0" anchor="ctr"/>
                <a:lstStyle/>
                <a:p>
                  <a:pPr algn="ctr">
                    <a:defRPr/>
                  </a:pPr>
                  <a:endParaRPr lang="en-US" sz="2000" kern="0" dirty="0">
                    <a:solidFill>
                      <a:srgbClr val="FFFFFF"/>
                    </a:solidFill>
                  </a:endParaRPr>
                </a:p>
              </p:txBody>
            </p:sp>
            <p:sp>
              <p:nvSpPr>
                <p:cNvPr id="102" name="Freeform 9"/>
                <p:cNvSpPr>
                  <a:spLocks noChangeAspect="1" noEditPoints="1"/>
                </p:cNvSpPr>
                <p:nvPr/>
              </p:nvSpPr>
              <p:spPr bwMode="auto">
                <a:xfrm>
                  <a:off x="5445309" y="738727"/>
                  <a:ext cx="484038" cy="457201"/>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grpSp>
    </p:spTree>
    <p:extLst>
      <p:ext uri="{BB962C8B-B14F-4D97-AF65-F5344CB8AC3E}">
        <p14:creationId xmlns:p14="http://schemas.microsoft.com/office/powerpoint/2010/main" val="15860466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a:spLocks noGrp="1"/>
          </p:cNvSpPr>
          <p:nvPr>
            <p:ph type="title"/>
          </p:nvPr>
        </p:nvSpPr>
        <p:spPr>
          <a:xfrm>
            <a:off x="1938338" y="441547"/>
            <a:ext cx="8330184" cy="333425"/>
          </a:xfrm>
        </p:spPr>
        <p:txBody>
          <a:bodyPr/>
          <a:lstStyle/>
          <a:p>
            <a:r>
              <a:rPr lang="en-US" dirty="0" smtClean="0"/>
              <a:t>Resources </a:t>
            </a:r>
            <a:r>
              <a:rPr lang="en-US" dirty="0"/>
              <a:t>— My </a:t>
            </a:r>
            <a:r>
              <a:rPr lang="en-US" dirty="0" smtClean="0"/>
              <a:t>Development Plan (MDP)</a:t>
            </a:r>
            <a:endParaRPr lang="en-US" dirty="0"/>
          </a:p>
        </p:txBody>
      </p:sp>
      <p:pic>
        <p:nvPicPr>
          <p:cNvPr id="7" name="Picture 6" descr="C:\Users\nsahney\AppData\Local\Temp\wz1f1a\12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5801" y="356763"/>
            <a:ext cx="457200" cy="457200"/>
          </a:xfrm>
          <a:prstGeom prst="rect">
            <a:avLst/>
          </a:prstGeom>
          <a:noFill/>
          <a:ln>
            <a:noFill/>
          </a:ln>
        </p:spPr>
      </p:pic>
      <p:sp>
        <p:nvSpPr>
          <p:cNvPr id="9" name="SHP_239"/>
          <p:cNvSpPr txBox="1">
            <a:spLocks/>
          </p:cNvSpPr>
          <p:nvPr/>
        </p:nvSpPr>
        <p:spPr bwMode="auto">
          <a:xfrm>
            <a:off x="1944623" y="1066801"/>
            <a:ext cx="8376136" cy="260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100">
                <a:solidFill>
                  <a:schemeClr val="tx1"/>
                </a:solidFill>
                <a:latin typeface="Arial" charset="0"/>
                <a:cs typeface="Arial" charset="0"/>
              </a:defRPr>
            </a:lvl1pPr>
            <a:lvl2pPr marL="231775" indent="-176213" eaLnBrk="0" hangingPunct="0">
              <a:defRPr sz="1100">
                <a:solidFill>
                  <a:schemeClr val="tx1"/>
                </a:solidFill>
                <a:latin typeface="Arial" charset="0"/>
                <a:cs typeface="Arial" charset="0"/>
              </a:defRPr>
            </a:lvl2pPr>
            <a:lvl3pPr marL="1143000" indent="-228600" eaLnBrk="0" hangingPunct="0">
              <a:defRPr sz="1100">
                <a:solidFill>
                  <a:schemeClr val="tx1"/>
                </a:solidFill>
                <a:latin typeface="Arial" charset="0"/>
                <a:cs typeface="Arial" charset="0"/>
              </a:defRPr>
            </a:lvl3pPr>
            <a:lvl4pPr marL="1600200" indent="-228600" eaLnBrk="0" hangingPunct="0">
              <a:defRPr sz="1100">
                <a:solidFill>
                  <a:schemeClr val="tx1"/>
                </a:solidFill>
                <a:latin typeface="Arial" charset="0"/>
                <a:cs typeface="Arial" charset="0"/>
              </a:defRPr>
            </a:lvl4pPr>
            <a:lvl5pPr marL="2057400" indent="-228600" eaLnBrk="0" hangingPunct="0">
              <a:defRPr sz="1100">
                <a:solidFill>
                  <a:schemeClr val="tx1"/>
                </a:solidFill>
                <a:latin typeface="Arial" charset="0"/>
                <a:cs typeface="Arial" charset="0"/>
              </a:defRPr>
            </a:lvl5pPr>
            <a:lvl6pPr marL="2514600" indent="-228600" eaLnBrk="0" fontAlgn="base" hangingPunct="0">
              <a:spcBef>
                <a:spcPct val="0"/>
              </a:spcBef>
              <a:spcAft>
                <a:spcPct val="0"/>
              </a:spcAft>
              <a:defRPr sz="1100">
                <a:solidFill>
                  <a:schemeClr val="tx1"/>
                </a:solidFill>
                <a:latin typeface="Arial" charset="0"/>
                <a:cs typeface="Arial" charset="0"/>
              </a:defRPr>
            </a:lvl6pPr>
            <a:lvl7pPr marL="2971800" indent="-228600" eaLnBrk="0" fontAlgn="base" hangingPunct="0">
              <a:spcBef>
                <a:spcPct val="0"/>
              </a:spcBef>
              <a:spcAft>
                <a:spcPct val="0"/>
              </a:spcAft>
              <a:defRPr sz="1100">
                <a:solidFill>
                  <a:schemeClr val="tx1"/>
                </a:solidFill>
                <a:latin typeface="Arial" charset="0"/>
                <a:cs typeface="Arial" charset="0"/>
              </a:defRPr>
            </a:lvl7pPr>
            <a:lvl8pPr marL="3429000" indent="-228600" eaLnBrk="0" fontAlgn="base" hangingPunct="0">
              <a:spcBef>
                <a:spcPct val="0"/>
              </a:spcBef>
              <a:spcAft>
                <a:spcPct val="0"/>
              </a:spcAft>
              <a:defRPr sz="1100">
                <a:solidFill>
                  <a:schemeClr val="tx1"/>
                </a:solidFill>
                <a:latin typeface="Arial" charset="0"/>
                <a:cs typeface="Arial" charset="0"/>
              </a:defRPr>
            </a:lvl8pPr>
            <a:lvl9pPr marL="3886200" indent="-228600" eaLnBrk="0" fontAlgn="base" hangingPunct="0">
              <a:spcBef>
                <a:spcPct val="0"/>
              </a:spcBef>
              <a:spcAft>
                <a:spcPct val="0"/>
              </a:spcAft>
              <a:defRPr sz="1100">
                <a:solidFill>
                  <a:schemeClr val="tx1"/>
                </a:solidFill>
                <a:latin typeface="Arial" charset="0"/>
                <a:cs typeface="Arial" charset="0"/>
              </a:defRPr>
            </a:lvl9pPr>
          </a:lstStyle>
          <a:p>
            <a:pPr marL="58738">
              <a:lnSpc>
                <a:spcPct val="106000"/>
              </a:lnSpc>
            </a:pPr>
            <a:r>
              <a:rPr lang="en-US" sz="1600" dirty="0">
                <a:solidFill>
                  <a:srgbClr val="002776"/>
                </a:solidFill>
              </a:rPr>
              <a:t>Visit </a:t>
            </a:r>
            <a:r>
              <a:rPr lang="en-US" sz="1600" dirty="0">
                <a:solidFill>
                  <a:srgbClr val="002776"/>
                </a:solidFill>
                <a:hlinkClick r:id="rId5" action="ppaction://hlinkfile"/>
              </a:rPr>
              <a:t>development.deloitte.com/mdp </a:t>
            </a:r>
            <a:r>
              <a:rPr lang="en-US" sz="1600" dirty="0">
                <a:solidFill>
                  <a:srgbClr val="002776"/>
                </a:solidFill>
              </a:rPr>
              <a:t>or jump to “My Development Plan” on DeloitteNet.</a:t>
            </a:r>
          </a:p>
        </p:txBody>
      </p:sp>
      <p:pic>
        <p:nvPicPr>
          <p:cNvPr id="1026" name="Picture 2"/>
          <p:cNvPicPr>
            <a:picLocks noChangeAspect="1" noChangeArrowheads="1"/>
          </p:cNvPicPr>
          <p:nvPr/>
        </p:nvPicPr>
        <p:blipFill>
          <a:blip r:embed="rId6" cstate="print"/>
          <a:srcRect/>
          <a:stretch>
            <a:fillRect/>
          </a:stretch>
        </p:blipFill>
        <p:spPr bwMode="auto">
          <a:xfrm>
            <a:off x="4816215" y="2483047"/>
            <a:ext cx="2466975" cy="2781300"/>
          </a:xfrm>
          <a:prstGeom prst="rect">
            <a:avLst/>
          </a:prstGeom>
          <a:noFill/>
          <a:ln w="9525">
            <a:noFill/>
            <a:miter lim="800000"/>
            <a:headEnd/>
            <a:tailEnd/>
          </a:ln>
        </p:spPr>
      </p:pic>
      <p:sp>
        <p:nvSpPr>
          <p:cNvPr id="12" name="Rectangle 11"/>
          <p:cNvSpPr/>
          <p:nvPr/>
        </p:nvSpPr>
        <p:spPr>
          <a:xfrm>
            <a:off x="2125883" y="3297938"/>
            <a:ext cx="2488559" cy="677108"/>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ctr"/>
            <a:r>
              <a:rPr lang="en-US" sz="1400" dirty="0">
                <a:solidFill>
                  <a:srgbClr val="002776"/>
                </a:solidFill>
              </a:rPr>
              <a:t>Expectations</a:t>
            </a:r>
          </a:p>
          <a:p>
            <a:pPr fontAlgn="ctr"/>
            <a:r>
              <a:rPr lang="en-US" sz="1200" dirty="0">
                <a:solidFill>
                  <a:srgbClr val="002776"/>
                </a:solidFill>
                <a:cs typeface="Arial" pitchFamily="34" charset="0"/>
              </a:rPr>
              <a:t>Provides appropriate recommendations by career level</a:t>
            </a:r>
          </a:p>
        </p:txBody>
      </p:sp>
      <p:sp>
        <p:nvSpPr>
          <p:cNvPr id="13" name="Rectangle 12"/>
          <p:cNvSpPr/>
          <p:nvPr/>
        </p:nvSpPr>
        <p:spPr>
          <a:xfrm>
            <a:off x="7440591" y="3299866"/>
            <a:ext cx="2602376" cy="677108"/>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ctr"/>
            <a:r>
              <a:rPr lang="en-US" sz="1400" dirty="0">
                <a:solidFill>
                  <a:srgbClr val="002776"/>
                </a:solidFill>
              </a:rPr>
              <a:t>Education</a:t>
            </a:r>
          </a:p>
          <a:p>
            <a:pPr fontAlgn="ctr"/>
            <a:r>
              <a:rPr lang="en-US" sz="1200" dirty="0">
                <a:solidFill>
                  <a:srgbClr val="002776"/>
                </a:solidFill>
                <a:cs typeface="Arial" pitchFamily="34" charset="0"/>
              </a:rPr>
              <a:t>Specifies the formal learning that supports your skill development</a:t>
            </a:r>
          </a:p>
        </p:txBody>
      </p:sp>
      <p:sp>
        <p:nvSpPr>
          <p:cNvPr id="14" name="Rectangle 13"/>
          <p:cNvSpPr/>
          <p:nvPr/>
        </p:nvSpPr>
        <p:spPr>
          <a:xfrm>
            <a:off x="2139387" y="4295289"/>
            <a:ext cx="2488559" cy="677108"/>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ctr"/>
            <a:r>
              <a:rPr lang="en-US" sz="1400" dirty="0">
                <a:solidFill>
                  <a:srgbClr val="002776"/>
                </a:solidFill>
              </a:rPr>
              <a:t>Experience</a:t>
            </a:r>
          </a:p>
          <a:p>
            <a:pPr fontAlgn="ctr"/>
            <a:r>
              <a:rPr lang="en-US" sz="1200" dirty="0">
                <a:solidFill>
                  <a:srgbClr val="002776"/>
                </a:solidFill>
                <a:cs typeface="Arial" pitchFamily="34" charset="0"/>
              </a:rPr>
              <a:t>Suggests job opportunities you should gain at your level</a:t>
            </a:r>
          </a:p>
        </p:txBody>
      </p:sp>
      <p:sp>
        <p:nvSpPr>
          <p:cNvPr id="15" name="Rectangle 14"/>
          <p:cNvSpPr/>
          <p:nvPr/>
        </p:nvSpPr>
        <p:spPr>
          <a:xfrm>
            <a:off x="7463740" y="4318439"/>
            <a:ext cx="2567652" cy="675108"/>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ctr"/>
            <a:r>
              <a:rPr lang="en-US" sz="1400" dirty="0">
                <a:solidFill>
                  <a:srgbClr val="002776"/>
                </a:solidFill>
              </a:rPr>
              <a:t>Exposure</a:t>
            </a:r>
          </a:p>
          <a:p>
            <a:pPr fontAlgn="ctr"/>
            <a:r>
              <a:rPr lang="en-US" sz="1200" dirty="0">
                <a:solidFill>
                  <a:srgbClr val="002776"/>
                </a:solidFill>
                <a:cs typeface="Arial" pitchFamily="34" charset="0"/>
              </a:rPr>
              <a:t>Recommends a list of relationships that will foster your career</a:t>
            </a:r>
          </a:p>
        </p:txBody>
      </p:sp>
      <p:sp>
        <p:nvSpPr>
          <p:cNvPr id="16" name="TextBox 15"/>
          <p:cNvSpPr txBox="1"/>
          <p:nvPr/>
        </p:nvSpPr>
        <p:spPr>
          <a:xfrm>
            <a:off x="2892425" y="5555049"/>
            <a:ext cx="6400800" cy="584200"/>
          </a:xfrm>
          <a:prstGeom prst="rect">
            <a:avLst/>
          </a:prstGeom>
          <a:noFill/>
          <a:ln w="19050">
            <a:solidFill>
              <a:srgbClr val="002776"/>
            </a:solidFill>
          </a:ln>
        </p:spPr>
        <p:txBody>
          <a:bodyPr vert="horz" wrap="square" lIns="45720" tIns="45720" rIns="45720" bIns="45720" rtlCol="0" anchor="ctr" anchorCtr="0">
            <a:noAutofit/>
          </a:bodyPr>
          <a:lstStyle/>
          <a:p>
            <a:pPr>
              <a:spcBef>
                <a:spcPts val="400"/>
              </a:spcBef>
            </a:pPr>
            <a:r>
              <a:rPr lang="en-US" sz="1200" dirty="0">
                <a:solidFill>
                  <a:srgbClr val="002776"/>
                </a:solidFill>
                <a:latin typeface="Arial"/>
              </a:rPr>
              <a:t>My Development Plan (MDP) helps you build a strategic, relevant, and actionable development plan by providing you with a list of recommended formal and informal learning opportunities.</a:t>
            </a:r>
          </a:p>
        </p:txBody>
      </p:sp>
      <p:pic>
        <p:nvPicPr>
          <p:cNvPr id="1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41917" y="1464758"/>
            <a:ext cx="7766613" cy="876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a:xfrm>
            <a:off x="3985215" y="2020174"/>
            <a:ext cx="1851141" cy="307697"/>
          </a:xfrm>
          <a:prstGeom prst="rect">
            <a:avLst/>
          </a:prstGeom>
          <a:solidFill>
            <a:schemeClr val="lt1">
              <a:alpha val="0"/>
            </a:schemeClr>
          </a:solidFill>
          <a:ln>
            <a:solidFill>
              <a:srgbClr val="FF0000"/>
            </a:solidFill>
          </a:ln>
        </p:spPr>
        <p:style>
          <a:lnRef idx="2">
            <a:schemeClr val="accent3"/>
          </a:lnRef>
          <a:fillRef idx="1">
            <a:schemeClr val="lt1"/>
          </a:fillRef>
          <a:effectRef idx="0">
            <a:schemeClr val="accent3"/>
          </a:effectRef>
          <a:fontRef idx="minor">
            <a:schemeClr val="dk1"/>
          </a:fontRef>
        </p:style>
        <p:txBody>
          <a:bodyPr lIns="45720" tIns="45720" rIns="45720" rtlCol="0" anchor="ctr"/>
          <a:lstStyle/>
          <a:p>
            <a:endParaRPr lang="en-US" dirty="0">
              <a:solidFill>
                <a:srgbClr val="002776"/>
              </a:solidFill>
            </a:endParaRPr>
          </a:p>
        </p:txBody>
      </p:sp>
      <p:cxnSp>
        <p:nvCxnSpPr>
          <p:cNvPr id="19" name="Straight Arrow Connector 18"/>
          <p:cNvCxnSpPr>
            <a:stCxn id="12" idx="3"/>
          </p:cNvCxnSpPr>
          <p:nvPr/>
        </p:nvCxnSpPr>
        <p:spPr>
          <a:xfrm>
            <a:off x="4614442" y="3636493"/>
            <a:ext cx="442981" cy="74359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3" idx="1"/>
          </p:cNvCxnSpPr>
          <p:nvPr/>
        </p:nvCxnSpPr>
        <p:spPr>
          <a:xfrm flipH="1">
            <a:off x="5802489" y="3638421"/>
            <a:ext cx="1638102" cy="96744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4" idx="3"/>
          </p:cNvCxnSpPr>
          <p:nvPr/>
        </p:nvCxnSpPr>
        <p:spPr>
          <a:xfrm>
            <a:off x="4627946" y="4633844"/>
            <a:ext cx="406899" cy="18651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5" idx="1"/>
          </p:cNvCxnSpPr>
          <p:nvPr/>
        </p:nvCxnSpPr>
        <p:spPr>
          <a:xfrm flipH="1">
            <a:off x="5712178" y="4655994"/>
            <a:ext cx="1751562" cy="42400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349239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bwMode="gray">
          <a:xfrm>
            <a:off x="1935479" y="1016000"/>
            <a:ext cx="8330184" cy="4964113"/>
          </a:xfrm>
        </p:spPr>
        <p:txBody>
          <a:bodyPr/>
          <a:lstStyle/>
          <a:p>
            <a:r>
              <a:rPr lang="en-US" sz="1400" dirty="0">
                <a:solidFill>
                  <a:srgbClr val="002776"/>
                </a:solidFill>
              </a:rPr>
              <a:t>My Development Plan helps professionals to build a strategic, relevant and actionable development plan and to streamline the process for tracking progress against yearly goals.</a:t>
            </a:r>
          </a:p>
          <a:p>
            <a:endParaRPr lang="en-US" sz="1400" b="1" dirty="0">
              <a:latin typeface="Arial" charset="0"/>
            </a:endParaRPr>
          </a:p>
        </p:txBody>
      </p:sp>
      <p:sp>
        <p:nvSpPr>
          <p:cNvPr id="142363" name="Rectangle 27"/>
          <p:cNvSpPr>
            <a:spLocks noGrp="1"/>
          </p:cNvSpPr>
          <p:nvPr>
            <p:ph type="title"/>
          </p:nvPr>
        </p:nvSpPr>
        <p:spPr bwMode="gray">
          <a:xfrm>
            <a:off x="1938338" y="348114"/>
            <a:ext cx="8330184" cy="430887"/>
          </a:xfrm>
        </p:spPr>
        <p:txBody>
          <a:bodyPr/>
          <a:lstStyle/>
          <a:p>
            <a:r>
              <a:rPr lang="en-US" dirty="0">
                <a:solidFill>
                  <a:srgbClr val="92D050"/>
                </a:solidFill>
              </a:rPr>
              <a:t>My Development Plan</a:t>
            </a:r>
          </a:p>
        </p:txBody>
      </p:sp>
      <p:sp>
        <p:nvSpPr>
          <p:cNvPr id="17" name="Rectangle 16"/>
          <p:cNvSpPr/>
          <p:nvPr/>
        </p:nvSpPr>
        <p:spPr bwMode="auto">
          <a:xfrm>
            <a:off x="1923437" y="1793739"/>
            <a:ext cx="1685143" cy="941178"/>
          </a:xfrm>
          <a:prstGeom prst="rect">
            <a:avLst/>
          </a:prstGeom>
          <a:solidFill>
            <a:srgbClr val="00A1DE"/>
          </a:solidFill>
          <a:ln w="19050">
            <a:solidFill>
              <a:srgbClr val="00A1DE"/>
            </a:solidFill>
          </a:ln>
          <a:effectLst>
            <a:innerShdw blurRad="63500" dist="50800" dir="2700000">
              <a:prstClr val="black">
                <a:alpha val="50000"/>
              </a:prstClr>
            </a:innerShdw>
          </a:effectLst>
          <a:extLst/>
        </p:spPr>
        <p:style>
          <a:lnRef idx="3">
            <a:schemeClr val="lt1"/>
          </a:lnRef>
          <a:fillRef idx="1">
            <a:schemeClr val="accent1"/>
          </a:fillRef>
          <a:effectRef idx="1">
            <a:schemeClr val="accent1"/>
          </a:effectRef>
          <a:fontRef idx="minor">
            <a:schemeClr val="lt1"/>
          </a:fontRef>
        </p:style>
        <p:txBody>
          <a:bodyPr lIns="45720" tIns="45720" rIns="45720" rtlCol="0" anchor="ctr"/>
          <a:lstStyle/>
          <a:p>
            <a:r>
              <a:rPr lang="en-US" sz="1200" dirty="0">
                <a:solidFill>
                  <a:srgbClr val="FFFFFF"/>
                </a:solidFill>
                <a:sym typeface="Gotham-Book" charset="0"/>
              </a:rPr>
              <a:t>Track learning hours</a:t>
            </a:r>
          </a:p>
        </p:txBody>
      </p:sp>
      <p:sp>
        <p:nvSpPr>
          <p:cNvPr id="19" name="Content Placeholder 5"/>
          <p:cNvSpPr txBox="1">
            <a:spLocks/>
          </p:cNvSpPr>
          <p:nvPr/>
        </p:nvSpPr>
        <p:spPr bwMode="auto">
          <a:xfrm>
            <a:off x="3855122" y="1884485"/>
            <a:ext cx="6520775" cy="759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241093" indent="-241093" algn="l" rtl="0" eaLnBrk="0" fontAlgn="base" hangingPunct="0">
              <a:lnSpc>
                <a:spcPts val="2812"/>
              </a:lnSpc>
              <a:spcBef>
                <a:spcPts val="1687"/>
              </a:spcBef>
              <a:spcAft>
                <a:spcPts val="844"/>
              </a:spcAft>
              <a:defRPr sz="2200">
                <a:solidFill>
                  <a:srgbClr val="BCBCBC"/>
                </a:solidFill>
                <a:latin typeface="Frutiger Next Pro Medium"/>
                <a:ea typeface="+mn-ea"/>
                <a:cs typeface="Frutiger Next Pro Medium"/>
                <a:sym typeface="Gotham-Bold" pitchFamily="-84" charset="0"/>
              </a:defRPr>
            </a:lvl1pPr>
            <a:lvl2pPr marL="522368" indent="-200911" algn="l" rtl="0" eaLnBrk="0" fontAlgn="base" hangingPunct="0">
              <a:lnSpc>
                <a:spcPts val="2812"/>
              </a:lnSpc>
              <a:spcBef>
                <a:spcPct val="0"/>
              </a:spcBef>
              <a:spcAft>
                <a:spcPts val="844"/>
              </a:spcAft>
              <a:buClr>
                <a:schemeClr val="accent2"/>
              </a:buClr>
              <a:buSzPct val="75000"/>
              <a:defRPr sz="2200">
                <a:solidFill>
                  <a:srgbClr val="BCBCBC"/>
                </a:solidFill>
                <a:latin typeface="Frutiger Next Pro Light"/>
                <a:ea typeface="MS PGothic" pitchFamily="34" charset="-128"/>
                <a:cs typeface="Frutiger Next Pro Light"/>
                <a:sym typeface="Gotham-Bold" pitchFamily="-84" charset="0"/>
              </a:defRPr>
            </a:lvl2pPr>
            <a:lvl3pPr marL="191981" indent="-191981" algn="l" rtl="0" eaLnBrk="0" fontAlgn="base" hangingPunct="0">
              <a:lnSpc>
                <a:spcPts val="2812"/>
              </a:lnSpc>
              <a:spcBef>
                <a:spcPct val="0"/>
              </a:spcBef>
              <a:spcAft>
                <a:spcPts val="844"/>
              </a:spcAft>
              <a:buClr>
                <a:schemeClr val="accent2"/>
              </a:buClr>
              <a:buSzPct val="80000"/>
              <a:buFont typeface="Arial" pitchFamily="34" charset="0"/>
              <a:buChar char="•"/>
              <a:defRPr sz="2200">
                <a:solidFill>
                  <a:srgbClr val="BCBCBC"/>
                </a:solidFill>
                <a:latin typeface="Frutiger Next Pro Light"/>
                <a:ea typeface="Frutiger Next Pro Light" charset="0"/>
                <a:cs typeface="Frutiger Next Pro Light"/>
                <a:sym typeface="Gotham-Bold" pitchFamily="-84" charset="0"/>
              </a:defRPr>
            </a:lvl3pPr>
            <a:lvl4pPr marL="1125101"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4pPr>
            <a:lvl5pPr marL="1446558"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5pPr>
            <a:lvl6pPr marL="321457" algn="l" rtl="0" fontAlgn="base">
              <a:spcBef>
                <a:spcPct val="0"/>
              </a:spcBef>
              <a:spcAft>
                <a:spcPct val="0"/>
              </a:spcAft>
              <a:defRPr sz="2500">
                <a:solidFill>
                  <a:srgbClr val="BFB9B6"/>
                </a:solidFill>
                <a:latin typeface="+mn-lt"/>
                <a:ea typeface="+mn-ea"/>
                <a:cs typeface="+mn-cs"/>
                <a:sym typeface="Gotham-Bold" charset="0"/>
              </a:defRPr>
            </a:lvl6pPr>
            <a:lvl7pPr marL="642915" algn="l" rtl="0" fontAlgn="base">
              <a:spcBef>
                <a:spcPct val="0"/>
              </a:spcBef>
              <a:spcAft>
                <a:spcPct val="0"/>
              </a:spcAft>
              <a:defRPr sz="2500">
                <a:solidFill>
                  <a:srgbClr val="BFB9B6"/>
                </a:solidFill>
                <a:latin typeface="+mn-lt"/>
                <a:ea typeface="+mn-ea"/>
                <a:cs typeface="+mn-cs"/>
                <a:sym typeface="Gotham-Bold" charset="0"/>
              </a:defRPr>
            </a:lvl7pPr>
            <a:lvl8pPr marL="964372" algn="l" rtl="0" fontAlgn="base">
              <a:spcBef>
                <a:spcPct val="0"/>
              </a:spcBef>
              <a:spcAft>
                <a:spcPct val="0"/>
              </a:spcAft>
              <a:defRPr sz="2500">
                <a:solidFill>
                  <a:srgbClr val="BFB9B6"/>
                </a:solidFill>
                <a:latin typeface="+mn-lt"/>
                <a:ea typeface="+mn-ea"/>
                <a:cs typeface="+mn-cs"/>
                <a:sym typeface="Gotham-Bold" charset="0"/>
              </a:defRPr>
            </a:lvl8pPr>
            <a:lvl9pPr marL="1285829" algn="l" rtl="0" fontAlgn="base">
              <a:spcBef>
                <a:spcPct val="0"/>
              </a:spcBef>
              <a:spcAft>
                <a:spcPct val="0"/>
              </a:spcAft>
              <a:defRPr sz="2500">
                <a:solidFill>
                  <a:srgbClr val="BFB9B6"/>
                </a:solidFill>
                <a:latin typeface="+mn-lt"/>
                <a:ea typeface="+mn-ea"/>
                <a:cs typeface="+mn-cs"/>
                <a:sym typeface="Gotham-Bold" charset="0"/>
              </a:defRPr>
            </a:lvl9pPr>
          </a:lstStyle>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Displaying the hours completed on your plan toward </a:t>
            </a:r>
            <a:r>
              <a:rPr lang="en-US" altLang="en-US" sz="1200" dirty="0" smtClean="0">
                <a:solidFill>
                  <a:schemeClr val="tx1"/>
                </a:solidFill>
                <a:latin typeface="+mj-lt"/>
                <a:ea typeface="ヒラギノ角ゴ ProN W6" pitchFamily="-84" charset="-128"/>
                <a:cs typeface="Frutiger Next Pro Light" pitchFamily="-84" charset="0"/>
                <a:sym typeface="Gotham-Book"/>
              </a:rPr>
              <a:t>your </a:t>
            </a:r>
            <a:r>
              <a:rPr lang="en-US" altLang="en-US" sz="1200" dirty="0">
                <a:solidFill>
                  <a:schemeClr val="tx1"/>
                </a:solidFill>
                <a:latin typeface="+mj-lt"/>
                <a:ea typeface="ヒラギノ角ゴ ProN W6" pitchFamily="-84" charset="-128"/>
                <a:cs typeface="Frutiger Next Pro Light" pitchFamily="-84" charset="0"/>
                <a:sym typeface="Gotham-Book"/>
              </a:rPr>
              <a:t>learning requirement</a:t>
            </a:r>
          </a:p>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Helping you to easily add courses you’ve enrolled in or completed in DLC to your plan</a:t>
            </a:r>
          </a:p>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Providing a curated list of courses that are most relevant for your career level and service line</a:t>
            </a:r>
          </a:p>
        </p:txBody>
      </p:sp>
      <p:sp>
        <p:nvSpPr>
          <p:cNvPr id="21" name="Rectangle 20"/>
          <p:cNvSpPr/>
          <p:nvPr/>
        </p:nvSpPr>
        <p:spPr bwMode="auto">
          <a:xfrm>
            <a:off x="1920876" y="2871536"/>
            <a:ext cx="1685143" cy="941178"/>
          </a:xfrm>
          <a:prstGeom prst="rect">
            <a:avLst/>
          </a:prstGeom>
          <a:solidFill>
            <a:srgbClr val="92D400"/>
          </a:solidFill>
          <a:ln w="19050">
            <a:solidFill>
              <a:srgbClr val="92D400"/>
            </a:solidFill>
          </a:ln>
          <a:effectLst>
            <a:innerShdw blurRad="63500" dist="50800" dir="2700000">
              <a:prstClr val="black">
                <a:alpha val="50000"/>
              </a:prstClr>
            </a:innerShdw>
          </a:effectLst>
          <a:extLst/>
        </p:spPr>
        <p:style>
          <a:lnRef idx="3">
            <a:schemeClr val="lt1"/>
          </a:lnRef>
          <a:fillRef idx="1">
            <a:schemeClr val="accent1"/>
          </a:fillRef>
          <a:effectRef idx="1">
            <a:schemeClr val="accent1"/>
          </a:effectRef>
          <a:fontRef idx="minor">
            <a:schemeClr val="lt1"/>
          </a:fontRef>
        </p:style>
        <p:txBody>
          <a:bodyPr lIns="45720" tIns="45720" rIns="45720" rtlCol="0" anchor="ctr"/>
          <a:lstStyle/>
          <a:p>
            <a:r>
              <a:rPr lang="en-US" sz="1200" dirty="0">
                <a:solidFill>
                  <a:srgbClr val="FFFFFF"/>
                </a:solidFill>
                <a:sym typeface="Gotham-Book" charset="0"/>
              </a:rPr>
              <a:t>Set goals and track progress</a:t>
            </a:r>
          </a:p>
        </p:txBody>
      </p:sp>
      <p:sp>
        <p:nvSpPr>
          <p:cNvPr id="22" name="Rectangle 21"/>
          <p:cNvSpPr/>
          <p:nvPr/>
        </p:nvSpPr>
        <p:spPr bwMode="auto">
          <a:xfrm>
            <a:off x="1912641" y="3933830"/>
            <a:ext cx="1685143" cy="941178"/>
          </a:xfrm>
          <a:prstGeom prst="rect">
            <a:avLst/>
          </a:prstGeom>
          <a:solidFill>
            <a:srgbClr val="00A1DE"/>
          </a:solidFill>
          <a:ln w="19050">
            <a:solidFill>
              <a:srgbClr val="00A1DE"/>
            </a:solidFill>
          </a:ln>
          <a:effectLst>
            <a:innerShdw blurRad="63500" dist="50800" dir="2700000">
              <a:prstClr val="black">
                <a:alpha val="50000"/>
              </a:prstClr>
            </a:innerShdw>
          </a:effectLst>
          <a:extLst/>
        </p:spPr>
        <p:style>
          <a:lnRef idx="3">
            <a:schemeClr val="lt1"/>
          </a:lnRef>
          <a:fillRef idx="1">
            <a:schemeClr val="accent1"/>
          </a:fillRef>
          <a:effectRef idx="1">
            <a:schemeClr val="accent1"/>
          </a:effectRef>
          <a:fontRef idx="minor">
            <a:schemeClr val="lt1"/>
          </a:fontRef>
        </p:style>
        <p:txBody>
          <a:bodyPr lIns="45720" tIns="45720" rIns="45720" rtlCol="0" anchor="ctr"/>
          <a:lstStyle/>
          <a:p>
            <a:r>
              <a:rPr lang="en-US" sz="1200" dirty="0">
                <a:solidFill>
                  <a:srgbClr val="FFFFFF"/>
                </a:solidFill>
                <a:sym typeface="Gotham-Book" charset="0"/>
              </a:rPr>
              <a:t>Plan for a promotion</a:t>
            </a:r>
          </a:p>
        </p:txBody>
      </p:sp>
      <p:sp>
        <p:nvSpPr>
          <p:cNvPr id="23" name="Rectangle 22"/>
          <p:cNvSpPr/>
          <p:nvPr/>
        </p:nvSpPr>
        <p:spPr bwMode="auto">
          <a:xfrm>
            <a:off x="1949712" y="4996648"/>
            <a:ext cx="1685143" cy="941178"/>
          </a:xfrm>
          <a:prstGeom prst="rect">
            <a:avLst/>
          </a:prstGeom>
          <a:solidFill>
            <a:srgbClr val="92D400"/>
          </a:solidFill>
          <a:ln w="19050">
            <a:solidFill>
              <a:srgbClr val="92D400"/>
            </a:solidFill>
          </a:ln>
          <a:effectLst>
            <a:innerShdw blurRad="63500" dist="50800" dir="2700000">
              <a:prstClr val="black">
                <a:alpha val="50000"/>
              </a:prstClr>
            </a:innerShdw>
          </a:effectLst>
          <a:extLst/>
        </p:spPr>
        <p:style>
          <a:lnRef idx="3">
            <a:schemeClr val="lt1"/>
          </a:lnRef>
          <a:fillRef idx="1">
            <a:schemeClr val="accent1"/>
          </a:fillRef>
          <a:effectRef idx="1">
            <a:schemeClr val="accent1"/>
          </a:effectRef>
          <a:fontRef idx="minor">
            <a:schemeClr val="lt1"/>
          </a:fontRef>
        </p:style>
        <p:txBody>
          <a:bodyPr lIns="45720" tIns="45720" rIns="45720" rtlCol="0" anchor="ctr"/>
          <a:lstStyle/>
          <a:p>
            <a:r>
              <a:rPr lang="en-US" sz="1200" dirty="0">
                <a:solidFill>
                  <a:srgbClr val="FFFFFF"/>
                </a:solidFill>
                <a:sym typeface="Gotham-Book" charset="0"/>
              </a:rPr>
              <a:t>Support your counselor’s due diligence</a:t>
            </a:r>
          </a:p>
        </p:txBody>
      </p:sp>
      <p:sp>
        <p:nvSpPr>
          <p:cNvPr id="24" name="Content Placeholder 5"/>
          <p:cNvSpPr txBox="1">
            <a:spLocks/>
          </p:cNvSpPr>
          <p:nvPr/>
        </p:nvSpPr>
        <p:spPr bwMode="auto">
          <a:xfrm>
            <a:off x="3859238" y="2880966"/>
            <a:ext cx="6520775" cy="92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241093" indent="-241093" algn="l" rtl="0" eaLnBrk="0" fontAlgn="base" hangingPunct="0">
              <a:lnSpc>
                <a:spcPts val="2812"/>
              </a:lnSpc>
              <a:spcBef>
                <a:spcPts val="1687"/>
              </a:spcBef>
              <a:spcAft>
                <a:spcPts val="844"/>
              </a:spcAft>
              <a:defRPr sz="2200">
                <a:solidFill>
                  <a:srgbClr val="BCBCBC"/>
                </a:solidFill>
                <a:latin typeface="Frutiger Next Pro Medium"/>
                <a:ea typeface="+mn-ea"/>
                <a:cs typeface="Frutiger Next Pro Medium"/>
                <a:sym typeface="Gotham-Bold" pitchFamily="-84" charset="0"/>
              </a:defRPr>
            </a:lvl1pPr>
            <a:lvl2pPr marL="522368" indent="-200911" algn="l" rtl="0" eaLnBrk="0" fontAlgn="base" hangingPunct="0">
              <a:lnSpc>
                <a:spcPts val="2812"/>
              </a:lnSpc>
              <a:spcBef>
                <a:spcPct val="0"/>
              </a:spcBef>
              <a:spcAft>
                <a:spcPts val="844"/>
              </a:spcAft>
              <a:buClr>
                <a:schemeClr val="accent2"/>
              </a:buClr>
              <a:buSzPct val="75000"/>
              <a:defRPr sz="2200">
                <a:solidFill>
                  <a:srgbClr val="BCBCBC"/>
                </a:solidFill>
                <a:latin typeface="Frutiger Next Pro Light"/>
                <a:ea typeface="MS PGothic" pitchFamily="34" charset="-128"/>
                <a:cs typeface="Frutiger Next Pro Light"/>
                <a:sym typeface="Gotham-Bold" pitchFamily="-84" charset="0"/>
              </a:defRPr>
            </a:lvl2pPr>
            <a:lvl3pPr marL="191981" indent="-191981" algn="l" rtl="0" eaLnBrk="0" fontAlgn="base" hangingPunct="0">
              <a:lnSpc>
                <a:spcPts val="2812"/>
              </a:lnSpc>
              <a:spcBef>
                <a:spcPct val="0"/>
              </a:spcBef>
              <a:spcAft>
                <a:spcPts val="844"/>
              </a:spcAft>
              <a:buClr>
                <a:schemeClr val="accent2"/>
              </a:buClr>
              <a:buSzPct val="80000"/>
              <a:buFont typeface="Arial" pitchFamily="34" charset="0"/>
              <a:buChar char="•"/>
              <a:defRPr sz="2200">
                <a:solidFill>
                  <a:srgbClr val="BCBCBC"/>
                </a:solidFill>
                <a:latin typeface="Frutiger Next Pro Light"/>
                <a:ea typeface="Frutiger Next Pro Light" charset="0"/>
                <a:cs typeface="Frutiger Next Pro Light"/>
                <a:sym typeface="Gotham-Bold" pitchFamily="-84" charset="0"/>
              </a:defRPr>
            </a:lvl3pPr>
            <a:lvl4pPr marL="1125101"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4pPr>
            <a:lvl5pPr marL="1446558"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5pPr>
            <a:lvl6pPr marL="321457" algn="l" rtl="0" fontAlgn="base">
              <a:spcBef>
                <a:spcPct val="0"/>
              </a:spcBef>
              <a:spcAft>
                <a:spcPct val="0"/>
              </a:spcAft>
              <a:defRPr sz="2500">
                <a:solidFill>
                  <a:srgbClr val="BFB9B6"/>
                </a:solidFill>
                <a:latin typeface="+mn-lt"/>
                <a:ea typeface="+mn-ea"/>
                <a:cs typeface="+mn-cs"/>
                <a:sym typeface="Gotham-Bold" charset="0"/>
              </a:defRPr>
            </a:lvl6pPr>
            <a:lvl7pPr marL="642915" algn="l" rtl="0" fontAlgn="base">
              <a:spcBef>
                <a:spcPct val="0"/>
              </a:spcBef>
              <a:spcAft>
                <a:spcPct val="0"/>
              </a:spcAft>
              <a:defRPr sz="2500">
                <a:solidFill>
                  <a:srgbClr val="BFB9B6"/>
                </a:solidFill>
                <a:latin typeface="+mn-lt"/>
                <a:ea typeface="+mn-ea"/>
                <a:cs typeface="+mn-cs"/>
                <a:sym typeface="Gotham-Bold" charset="0"/>
              </a:defRPr>
            </a:lvl7pPr>
            <a:lvl8pPr marL="964372" algn="l" rtl="0" fontAlgn="base">
              <a:spcBef>
                <a:spcPct val="0"/>
              </a:spcBef>
              <a:spcAft>
                <a:spcPct val="0"/>
              </a:spcAft>
              <a:defRPr sz="2500">
                <a:solidFill>
                  <a:srgbClr val="BFB9B6"/>
                </a:solidFill>
                <a:latin typeface="+mn-lt"/>
                <a:ea typeface="+mn-ea"/>
                <a:cs typeface="+mn-cs"/>
                <a:sym typeface="Gotham-Bold" charset="0"/>
              </a:defRPr>
            </a:lvl8pPr>
            <a:lvl9pPr marL="1285829" algn="l" rtl="0" fontAlgn="base">
              <a:spcBef>
                <a:spcPct val="0"/>
              </a:spcBef>
              <a:spcAft>
                <a:spcPct val="0"/>
              </a:spcAft>
              <a:defRPr sz="2500">
                <a:solidFill>
                  <a:srgbClr val="BFB9B6"/>
                </a:solidFill>
                <a:latin typeface="+mn-lt"/>
                <a:ea typeface="+mn-ea"/>
                <a:cs typeface="+mn-cs"/>
                <a:sym typeface="Gotham-Bold" charset="0"/>
              </a:defRPr>
            </a:lvl9pPr>
          </a:lstStyle>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Highlighting recommended goals for your career level, in the form of Experiences and Exposures</a:t>
            </a:r>
          </a:p>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Allowing you to track your goals by adding them to your plan as Experiences and Exposures</a:t>
            </a:r>
          </a:p>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Allowing you to document the actions you’ve taken against each goal</a:t>
            </a:r>
          </a:p>
        </p:txBody>
      </p:sp>
      <p:sp>
        <p:nvSpPr>
          <p:cNvPr id="25" name="Content Placeholder 5"/>
          <p:cNvSpPr txBox="1">
            <a:spLocks/>
          </p:cNvSpPr>
          <p:nvPr/>
        </p:nvSpPr>
        <p:spPr bwMode="auto">
          <a:xfrm>
            <a:off x="3863354" y="3943260"/>
            <a:ext cx="6520775" cy="92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241093" indent="-241093" algn="l" rtl="0" eaLnBrk="0" fontAlgn="base" hangingPunct="0">
              <a:lnSpc>
                <a:spcPts val="2812"/>
              </a:lnSpc>
              <a:spcBef>
                <a:spcPts val="1687"/>
              </a:spcBef>
              <a:spcAft>
                <a:spcPts val="844"/>
              </a:spcAft>
              <a:defRPr sz="2200">
                <a:solidFill>
                  <a:srgbClr val="BCBCBC"/>
                </a:solidFill>
                <a:latin typeface="Frutiger Next Pro Medium"/>
                <a:ea typeface="+mn-ea"/>
                <a:cs typeface="Frutiger Next Pro Medium"/>
                <a:sym typeface="Gotham-Bold" pitchFamily="-84" charset="0"/>
              </a:defRPr>
            </a:lvl1pPr>
            <a:lvl2pPr marL="522368" indent="-200911" algn="l" rtl="0" eaLnBrk="0" fontAlgn="base" hangingPunct="0">
              <a:lnSpc>
                <a:spcPts val="2812"/>
              </a:lnSpc>
              <a:spcBef>
                <a:spcPct val="0"/>
              </a:spcBef>
              <a:spcAft>
                <a:spcPts val="844"/>
              </a:spcAft>
              <a:buClr>
                <a:schemeClr val="accent2"/>
              </a:buClr>
              <a:buSzPct val="75000"/>
              <a:defRPr sz="2200">
                <a:solidFill>
                  <a:srgbClr val="BCBCBC"/>
                </a:solidFill>
                <a:latin typeface="Frutiger Next Pro Light"/>
                <a:ea typeface="MS PGothic" pitchFamily="34" charset="-128"/>
                <a:cs typeface="Frutiger Next Pro Light"/>
                <a:sym typeface="Gotham-Bold" pitchFamily="-84" charset="0"/>
              </a:defRPr>
            </a:lvl2pPr>
            <a:lvl3pPr marL="191981" indent="-191981" algn="l" rtl="0" eaLnBrk="0" fontAlgn="base" hangingPunct="0">
              <a:lnSpc>
                <a:spcPts val="2812"/>
              </a:lnSpc>
              <a:spcBef>
                <a:spcPct val="0"/>
              </a:spcBef>
              <a:spcAft>
                <a:spcPts val="844"/>
              </a:spcAft>
              <a:buClr>
                <a:schemeClr val="accent2"/>
              </a:buClr>
              <a:buSzPct val="80000"/>
              <a:buFont typeface="Arial" pitchFamily="34" charset="0"/>
              <a:buChar char="•"/>
              <a:defRPr sz="2200">
                <a:solidFill>
                  <a:srgbClr val="BCBCBC"/>
                </a:solidFill>
                <a:latin typeface="Frutiger Next Pro Light"/>
                <a:ea typeface="Frutiger Next Pro Light" charset="0"/>
                <a:cs typeface="Frutiger Next Pro Light"/>
                <a:sym typeface="Gotham-Bold" pitchFamily="-84" charset="0"/>
              </a:defRPr>
            </a:lvl3pPr>
            <a:lvl4pPr marL="1125101"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4pPr>
            <a:lvl5pPr marL="1446558"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5pPr>
            <a:lvl6pPr marL="321457" algn="l" rtl="0" fontAlgn="base">
              <a:spcBef>
                <a:spcPct val="0"/>
              </a:spcBef>
              <a:spcAft>
                <a:spcPct val="0"/>
              </a:spcAft>
              <a:defRPr sz="2500">
                <a:solidFill>
                  <a:srgbClr val="BFB9B6"/>
                </a:solidFill>
                <a:latin typeface="+mn-lt"/>
                <a:ea typeface="+mn-ea"/>
                <a:cs typeface="+mn-cs"/>
                <a:sym typeface="Gotham-Bold" charset="0"/>
              </a:defRPr>
            </a:lvl6pPr>
            <a:lvl7pPr marL="642915" algn="l" rtl="0" fontAlgn="base">
              <a:spcBef>
                <a:spcPct val="0"/>
              </a:spcBef>
              <a:spcAft>
                <a:spcPct val="0"/>
              </a:spcAft>
              <a:defRPr sz="2500">
                <a:solidFill>
                  <a:srgbClr val="BFB9B6"/>
                </a:solidFill>
                <a:latin typeface="+mn-lt"/>
                <a:ea typeface="+mn-ea"/>
                <a:cs typeface="+mn-cs"/>
                <a:sym typeface="Gotham-Bold" charset="0"/>
              </a:defRPr>
            </a:lvl7pPr>
            <a:lvl8pPr marL="964372" algn="l" rtl="0" fontAlgn="base">
              <a:spcBef>
                <a:spcPct val="0"/>
              </a:spcBef>
              <a:spcAft>
                <a:spcPct val="0"/>
              </a:spcAft>
              <a:defRPr sz="2500">
                <a:solidFill>
                  <a:srgbClr val="BFB9B6"/>
                </a:solidFill>
                <a:latin typeface="+mn-lt"/>
                <a:ea typeface="+mn-ea"/>
                <a:cs typeface="+mn-cs"/>
                <a:sym typeface="Gotham-Bold" charset="0"/>
              </a:defRPr>
            </a:lvl8pPr>
            <a:lvl9pPr marL="1285829" algn="l" rtl="0" fontAlgn="base">
              <a:spcBef>
                <a:spcPct val="0"/>
              </a:spcBef>
              <a:spcAft>
                <a:spcPct val="0"/>
              </a:spcAft>
              <a:defRPr sz="2500">
                <a:solidFill>
                  <a:srgbClr val="BFB9B6"/>
                </a:solidFill>
                <a:latin typeface="+mn-lt"/>
                <a:ea typeface="+mn-ea"/>
                <a:cs typeface="+mn-cs"/>
                <a:sym typeface="Gotham-Bold" charset="0"/>
              </a:defRPr>
            </a:lvl9pPr>
          </a:lstStyle>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Empowering you to “preview” prescribed courses, experiences and exposures for higher levels by changing your level</a:t>
            </a:r>
          </a:p>
        </p:txBody>
      </p:sp>
      <p:sp>
        <p:nvSpPr>
          <p:cNvPr id="26" name="Content Placeholder 5"/>
          <p:cNvSpPr txBox="1">
            <a:spLocks/>
          </p:cNvSpPr>
          <p:nvPr/>
        </p:nvSpPr>
        <p:spPr bwMode="auto">
          <a:xfrm>
            <a:off x="3855122" y="5006078"/>
            <a:ext cx="6520775" cy="92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241093" indent="-241093" algn="l" rtl="0" eaLnBrk="0" fontAlgn="base" hangingPunct="0">
              <a:lnSpc>
                <a:spcPts val="2812"/>
              </a:lnSpc>
              <a:spcBef>
                <a:spcPts val="1687"/>
              </a:spcBef>
              <a:spcAft>
                <a:spcPts val="844"/>
              </a:spcAft>
              <a:defRPr sz="2200">
                <a:solidFill>
                  <a:srgbClr val="BCBCBC"/>
                </a:solidFill>
                <a:latin typeface="Frutiger Next Pro Medium"/>
                <a:ea typeface="+mn-ea"/>
                <a:cs typeface="Frutiger Next Pro Medium"/>
                <a:sym typeface="Gotham-Bold" pitchFamily="-84" charset="0"/>
              </a:defRPr>
            </a:lvl1pPr>
            <a:lvl2pPr marL="522368" indent="-200911" algn="l" rtl="0" eaLnBrk="0" fontAlgn="base" hangingPunct="0">
              <a:lnSpc>
                <a:spcPts val="2812"/>
              </a:lnSpc>
              <a:spcBef>
                <a:spcPct val="0"/>
              </a:spcBef>
              <a:spcAft>
                <a:spcPts val="844"/>
              </a:spcAft>
              <a:buClr>
                <a:schemeClr val="accent2"/>
              </a:buClr>
              <a:buSzPct val="75000"/>
              <a:defRPr sz="2200">
                <a:solidFill>
                  <a:srgbClr val="BCBCBC"/>
                </a:solidFill>
                <a:latin typeface="Frutiger Next Pro Light"/>
                <a:ea typeface="MS PGothic" pitchFamily="34" charset="-128"/>
                <a:cs typeface="Frutiger Next Pro Light"/>
                <a:sym typeface="Gotham-Bold" pitchFamily="-84" charset="0"/>
              </a:defRPr>
            </a:lvl2pPr>
            <a:lvl3pPr marL="191981" indent="-191981" algn="l" rtl="0" eaLnBrk="0" fontAlgn="base" hangingPunct="0">
              <a:lnSpc>
                <a:spcPts val="2812"/>
              </a:lnSpc>
              <a:spcBef>
                <a:spcPct val="0"/>
              </a:spcBef>
              <a:spcAft>
                <a:spcPts val="844"/>
              </a:spcAft>
              <a:buClr>
                <a:schemeClr val="accent2"/>
              </a:buClr>
              <a:buSzPct val="80000"/>
              <a:buFont typeface="Arial" pitchFamily="34" charset="0"/>
              <a:buChar char="•"/>
              <a:defRPr sz="2200">
                <a:solidFill>
                  <a:srgbClr val="BCBCBC"/>
                </a:solidFill>
                <a:latin typeface="Frutiger Next Pro Light"/>
                <a:ea typeface="Frutiger Next Pro Light" charset="0"/>
                <a:cs typeface="Frutiger Next Pro Light"/>
                <a:sym typeface="Gotham-Bold" pitchFamily="-84" charset="0"/>
              </a:defRPr>
            </a:lvl3pPr>
            <a:lvl4pPr marL="1125101"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4pPr>
            <a:lvl5pPr marL="1446558" indent="-160729" algn="l" rtl="0" eaLnBrk="0" fontAlgn="base" hangingPunct="0">
              <a:lnSpc>
                <a:spcPts val="3234"/>
              </a:lnSpc>
              <a:spcBef>
                <a:spcPct val="0"/>
              </a:spcBef>
              <a:spcAft>
                <a:spcPts val="1266"/>
              </a:spcAft>
              <a:defRPr sz="2500">
                <a:solidFill>
                  <a:srgbClr val="BFB9B6"/>
                </a:solidFill>
                <a:latin typeface="Frutiger Next Pro Light"/>
                <a:ea typeface="Frutiger Next Pro Light" charset="0"/>
                <a:cs typeface="Frutiger Next Pro Light"/>
                <a:sym typeface="Gotham-Bold" pitchFamily="-84" charset="0"/>
              </a:defRPr>
            </a:lvl5pPr>
            <a:lvl6pPr marL="321457" algn="l" rtl="0" fontAlgn="base">
              <a:spcBef>
                <a:spcPct val="0"/>
              </a:spcBef>
              <a:spcAft>
                <a:spcPct val="0"/>
              </a:spcAft>
              <a:defRPr sz="2500">
                <a:solidFill>
                  <a:srgbClr val="BFB9B6"/>
                </a:solidFill>
                <a:latin typeface="+mn-lt"/>
                <a:ea typeface="+mn-ea"/>
                <a:cs typeface="+mn-cs"/>
                <a:sym typeface="Gotham-Bold" charset="0"/>
              </a:defRPr>
            </a:lvl6pPr>
            <a:lvl7pPr marL="642915" algn="l" rtl="0" fontAlgn="base">
              <a:spcBef>
                <a:spcPct val="0"/>
              </a:spcBef>
              <a:spcAft>
                <a:spcPct val="0"/>
              </a:spcAft>
              <a:defRPr sz="2500">
                <a:solidFill>
                  <a:srgbClr val="BFB9B6"/>
                </a:solidFill>
                <a:latin typeface="+mn-lt"/>
                <a:ea typeface="+mn-ea"/>
                <a:cs typeface="+mn-cs"/>
                <a:sym typeface="Gotham-Bold" charset="0"/>
              </a:defRPr>
            </a:lvl7pPr>
            <a:lvl8pPr marL="964372" algn="l" rtl="0" fontAlgn="base">
              <a:spcBef>
                <a:spcPct val="0"/>
              </a:spcBef>
              <a:spcAft>
                <a:spcPct val="0"/>
              </a:spcAft>
              <a:defRPr sz="2500">
                <a:solidFill>
                  <a:srgbClr val="BFB9B6"/>
                </a:solidFill>
                <a:latin typeface="+mn-lt"/>
                <a:ea typeface="+mn-ea"/>
                <a:cs typeface="+mn-cs"/>
                <a:sym typeface="Gotham-Bold" charset="0"/>
              </a:defRPr>
            </a:lvl8pPr>
            <a:lvl9pPr marL="1285829" algn="l" rtl="0" fontAlgn="base">
              <a:spcBef>
                <a:spcPct val="0"/>
              </a:spcBef>
              <a:spcAft>
                <a:spcPct val="0"/>
              </a:spcAft>
              <a:defRPr sz="2500">
                <a:solidFill>
                  <a:srgbClr val="BFB9B6"/>
                </a:solidFill>
                <a:latin typeface="+mn-lt"/>
                <a:ea typeface="+mn-ea"/>
                <a:cs typeface="+mn-cs"/>
                <a:sym typeface="Gotham-Bold" charset="0"/>
              </a:defRPr>
            </a:lvl9pPr>
          </a:lstStyle>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Enabling you to share your plan - including courses taken, goals and progress - with your counselor</a:t>
            </a:r>
          </a:p>
          <a:p>
            <a:pPr lvl="2" eaLnBrk="1" hangingPunct="1">
              <a:lnSpc>
                <a:spcPct val="100000"/>
              </a:lnSpc>
              <a:spcAft>
                <a:spcPts val="422"/>
              </a:spcAft>
              <a:buClr>
                <a:srgbClr val="81BC00"/>
              </a:buClr>
              <a:buSzTx/>
            </a:pPr>
            <a:r>
              <a:rPr lang="en-US" altLang="en-US" sz="1200" dirty="0">
                <a:solidFill>
                  <a:schemeClr val="tx1"/>
                </a:solidFill>
                <a:latin typeface="+mj-lt"/>
                <a:ea typeface="ヒラギノ角ゴ ProN W6" pitchFamily="-84" charset="-128"/>
                <a:cs typeface="Frutiger Next Pro Light" pitchFamily="-84" charset="0"/>
                <a:sym typeface="Gotham-Book"/>
              </a:rPr>
              <a:t>Allowing you to document the people with whom you’ve interacted and their role so your counselor may easily contact them</a:t>
            </a:r>
          </a:p>
        </p:txBody>
      </p:sp>
    </p:spTree>
    <p:extLst>
      <p:ext uri="{BB962C8B-B14F-4D97-AF65-F5344CB8AC3E}">
        <p14:creationId xmlns:p14="http://schemas.microsoft.com/office/powerpoint/2010/main" val="11146832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89125" y="3169730"/>
            <a:ext cx="8229600" cy="518540"/>
          </a:xfrm>
        </p:spPr>
        <p:txBody>
          <a:bodyPr/>
          <a:lstStyle/>
          <a:p>
            <a:pPr>
              <a:spcBef>
                <a:spcPts val="0"/>
              </a:spcBef>
              <a:buNone/>
            </a:pPr>
            <a:r>
              <a:rPr lang="en-US" sz="3200" dirty="0"/>
              <a:t>The Future of CPE…and learning</a:t>
            </a:r>
          </a:p>
        </p:txBody>
      </p:sp>
    </p:spTree>
    <p:extLst>
      <p:ext uri="{BB962C8B-B14F-4D97-AF65-F5344CB8AC3E}">
        <p14:creationId xmlns:p14="http://schemas.microsoft.com/office/powerpoint/2010/main" val="326683209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p>
            <a:r>
              <a:rPr lang="en-US" dirty="0" smtClean="0"/>
              <a:t>We are continuing the change journey from how we’ve traditionally thought about learning, so it’s critical that we address the tough questions</a:t>
            </a:r>
            <a:endParaRPr lang="en-US" dirty="0"/>
          </a:p>
        </p:txBody>
      </p:sp>
      <p:sp>
        <p:nvSpPr>
          <p:cNvPr id="4" name="Title 3"/>
          <p:cNvSpPr>
            <a:spLocks noGrp="1"/>
          </p:cNvSpPr>
          <p:nvPr>
            <p:ph type="title"/>
          </p:nvPr>
        </p:nvSpPr>
        <p:spPr/>
        <p:txBody>
          <a:bodyPr/>
          <a:lstStyle/>
          <a:p>
            <a:r>
              <a:rPr lang="en-US" dirty="0" smtClean="0"/>
              <a:t>Sharing Insights and Addressing Key Questions</a:t>
            </a:r>
            <a:endParaRPr lang="en-US" dirty="0"/>
          </a:p>
        </p:txBody>
      </p:sp>
      <p:sp>
        <p:nvSpPr>
          <p:cNvPr id="18" name="Rectangle 17"/>
          <p:cNvSpPr/>
          <p:nvPr/>
        </p:nvSpPr>
        <p:spPr bwMode="gray">
          <a:xfrm>
            <a:off x="1889760" y="2335264"/>
            <a:ext cx="8412480" cy="2165020"/>
          </a:xfrm>
          <a:prstGeom prst="rect">
            <a:avLst/>
          </a:prstGeom>
          <a:solidFill>
            <a:schemeClr val="accent3"/>
          </a:solidFill>
          <a:ln w="1905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88900" tIns="88900" rIns="88900" bIns="88900" rtlCol="0" anchor="ctr"/>
          <a:lstStyle/>
          <a:p>
            <a:pPr algn="ctr">
              <a:lnSpc>
                <a:spcPct val="106000"/>
              </a:lnSpc>
              <a:spcAft>
                <a:spcPts val="1200"/>
              </a:spcAft>
            </a:pPr>
            <a:r>
              <a:rPr lang="en-US" sz="1600" b="1" dirty="0">
                <a:solidFill>
                  <a:schemeClr val="bg1"/>
                </a:solidFill>
              </a:rPr>
              <a:t>Key Questions:</a:t>
            </a:r>
          </a:p>
          <a:p>
            <a:pPr marL="285750" indent="-169863">
              <a:lnSpc>
                <a:spcPct val="106000"/>
              </a:lnSpc>
              <a:spcAft>
                <a:spcPts val="1200"/>
              </a:spcAft>
              <a:buFont typeface="Wingdings" panose="05000000000000000000" pitchFamily="2" charset="2"/>
              <a:buChar char="§"/>
            </a:pPr>
            <a:r>
              <a:rPr lang="en-US" sz="1600" b="1" dirty="0">
                <a:solidFill>
                  <a:schemeClr val="bg1"/>
                </a:solidFill>
              </a:rPr>
              <a:t>Do you think this vision has potential to drive higher quality learning for our professionals?</a:t>
            </a:r>
          </a:p>
          <a:p>
            <a:pPr marL="285750" indent="-169863">
              <a:lnSpc>
                <a:spcPct val="106000"/>
              </a:lnSpc>
              <a:spcAft>
                <a:spcPts val="1200"/>
              </a:spcAft>
              <a:buFont typeface="Wingdings" panose="05000000000000000000" pitchFamily="2" charset="2"/>
              <a:buChar char="§"/>
            </a:pPr>
            <a:r>
              <a:rPr lang="en-US" sz="1600" b="1" dirty="0">
                <a:solidFill>
                  <a:schemeClr val="bg1"/>
                </a:solidFill>
              </a:rPr>
              <a:t>Did you have any “a-ha” moments?</a:t>
            </a:r>
          </a:p>
          <a:p>
            <a:pPr marL="285750" indent="-169863">
              <a:lnSpc>
                <a:spcPct val="106000"/>
              </a:lnSpc>
              <a:spcAft>
                <a:spcPts val="1200"/>
              </a:spcAft>
              <a:buFont typeface="Wingdings" panose="05000000000000000000" pitchFamily="2" charset="2"/>
              <a:buChar char="§"/>
            </a:pPr>
            <a:r>
              <a:rPr lang="en-US" sz="1600" b="1" dirty="0">
                <a:solidFill>
                  <a:schemeClr val="bg1"/>
                </a:solidFill>
              </a:rPr>
              <a:t>What are the long-term implications for how we operate?</a:t>
            </a:r>
          </a:p>
        </p:txBody>
      </p:sp>
    </p:spTree>
    <p:extLst>
      <p:ext uri="{BB962C8B-B14F-4D97-AF65-F5344CB8AC3E}">
        <p14:creationId xmlns:p14="http://schemas.microsoft.com/office/powerpoint/2010/main" val="83703541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p>
            <a:r>
              <a:rPr lang="en-US" dirty="0" smtClean="0"/>
              <a:t>Our professionals don’t wait.  Our cycles and processes take too long and create too much complexity.</a:t>
            </a:r>
            <a:endParaRPr lang="en-US" dirty="0"/>
          </a:p>
        </p:txBody>
      </p:sp>
      <p:sp>
        <p:nvSpPr>
          <p:cNvPr id="4" name="Title 3"/>
          <p:cNvSpPr>
            <a:spLocks noGrp="1"/>
          </p:cNvSpPr>
          <p:nvPr>
            <p:ph type="title"/>
          </p:nvPr>
        </p:nvSpPr>
        <p:spPr/>
        <p:txBody>
          <a:bodyPr/>
          <a:lstStyle/>
          <a:p>
            <a:r>
              <a:rPr lang="en-US" dirty="0" smtClean="0"/>
              <a:t>Where we need to go</a:t>
            </a:r>
            <a:endParaRPr lang="en-US" dirty="0"/>
          </a:p>
        </p:txBody>
      </p:sp>
      <p:sp>
        <p:nvSpPr>
          <p:cNvPr id="18" name="Rectangle 17"/>
          <p:cNvSpPr/>
          <p:nvPr/>
        </p:nvSpPr>
        <p:spPr bwMode="gray">
          <a:xfrm>
            <a:off x="1889760" y="1586753"/>
            <a:ext cx="8412480" cy="4805082"/>
          </a:xfrm>
          <a:prstGeom prst="rect">
            <a:avLst/>
          </a:prstGeom>
          <a:solidFill>
            <a:schemeClr val="accent3"/>
          </a:solidFill>
          <a:ln w="1905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88900" tIns="88900" rIns="88900" bIns="88900" rtlCol="0" anchor="ctr"/>
          <a:lstStyle/>
          <a:p>
            <a:pPr algn="ctr">
              <a:lnSpc>
                <a:spcPct val="106000"/>
              </a:lnSpc>
              <a:spcAft>
                <a:spcPts val="1200"/>
              </a:spcAft>
            </a:pPr>
            <a:endParaRPr lang="en-US" b="1" dirty="0">
              <a:solidFill>
                <a:schemeClr val="bg1"/>
              </a:solidFill>
            </a:endParaRPr>
          </a:p>
          <a:p>
            <a:pPr marL="285750" indent="-169863">
              <a:lnSpc>
                <a:spcPct val="106000"/>
              </a:lnSpc>
              <a:spcAft>
                <a:spcPts val="1200"/>
              </a:spcAft>
              <a:buFont typeface="Wingdings" panose="05000000000000000000" pitchFamily="2" charset="2"/>
              <a:buChar char="§"/>
            </a:pPr>
            <a:r>
              <a:rPr lang="en-US" b="1" dirty="0">
                <a:solidFill>
                  <a:schemeClr val="bg1"/>
                </a:solidFill>
              </a:rPr>
              <a:t>Single, uniform standard adopted by all…individual jurisdiction changes/adaptions drive cost and effort and have marginal impact on development</a:t>
            </a:r>
          </a:p>
          <a:p>
            <a:pPr marL="285750" indent="-169863">
              <a:lnSpc>
                <a:spcPct val="106000"/>
              </a:lnSpc>
              <a:spcAft>
                <a:spcPts val="1200"/>
              </a:spcAft>
              <a:buFont typeface="Wingdings" panose="05000000000000000000" pitchFamily="2" charset="2"/>
              <a:buChar char="§"/>
            </a:pPr>
            <a:r>
              <a:rPr lang="en-US" b="1" dirty="0">
                <a:solidFill>
                  <a:schemeClr val="bg1"/>
                </a:solidFill>
              </a:rPr>
              <a:t>Implement quickly…within a year for all.  Pace of change is fast and increasing.  We need to keep up.</a:t>
            </a:r>
          </a:p>
          <a:p>
            <a:pPr marL="285750" indent="-169863">
              <a:lnSpc>
                <a:spcPct val="106000"/>
              </a:lnSpc>
              <a:spcAft>
                <a:spcPts val="1200"/>
              </a:spcAft>
              <a:buFont typeface="Wingdings" panose="05000000000000000000" pitchFamily="2" charset="2"/>
              <a:buChar char="§"/>
            </a:pPr>
            <a:r>
              <a:rPr lang="en-US" b="1" dirty="0">
                <a:solidFill>
                  <a:schemeClr val="bg1"/>
                </a:solidFill>
              </a:rPr>
              <a:t>Evolve rapidly but further evolving the standards to address the following.  Establish new task force immediately rather than waiting for next cycle.</a:t>
            </a:r>
          </a:p>
          <a:p>
            <a:pPr marL="742950" lvl="1" indent="-169863">
              <a:lnSpc>
                <a:spcPct val="106000"/>
              </a:lnSpc>
              <a:spcAft>
                <a:spcPts val="1200"/>
              </a:spcAft>
              <a:buFont typeface="Wingdings" panose="05000000000000000000" pitchFamily="2" charset="2"/>
              <a:buChar char="§"/>
            </a:pPr>
            <a:r>
              <a:rPr lang="en-US" b="1" dirty="0">
                <a:solidFill>
                  <a:schemeClr val="bg1"/>
                </a:solidFill>
              </a:rPr>
              <a:t>Greater </a:t>
            </a:r>
            <a:r>
              <a:rPr lang="en-US" b="1" dirty="0" err="1">
                <a:solidFill>
                  <a:schemeClr val="bg1"/>
                </a:solidFill>
              </a:rPr>
              <a:t>nano</a:t>
            </a:r>
            <a:r>
              <a:rPr lang="en-US" b="1" dirty="0">
                <a:solidFill>
                  <a:schemeClr val="bg1"/>
                </a:solidFill>
              </a:rPr>
              <a:t> learning flexibility</a:t>
            </a:r>
          </a:p>
          <a:p>
            <a:pPr marL="742950" lvl="1" indent="-169863">
              <a:lnSpc>
                <a:spcPct val="106000"/>
              </a:lnSpc>
              <a:spcAft>
                <a:spcPts val="1200"/>
              </a:spcAft>
              <a:buFont typeface="Wingdings" panose="05000000000000000000" pitchFamily="2" charset="2"/>
              <a:buChar char="§"/>
            </a:pPr>
            <a:r>
              <a:rPr lang="en-US" b="1" dirty="0">
                <a:solidFill>
                  <a:schemeClr val="bg1"/>
                </a:solidFill>
              </a:rPr>
              <a:t>Development plan </a:t>
            </a:r>
            <a:r>
              <a:rPr lang="en-US" b="1" dirty="0" smtClean="0">
                <a:solidFill>
                  <a:schemeClr val="bg1"/>
                </a:solidFill>
              </a:rPr>
              <a:t>credit</a:t>
            </a:r>
            <a:endParaRPr lang="en-US" b="1" dirty="0">
              <a:solidFill>
                <a:schemeClr val="bg1"/>
              </a:solidFill>
            </a:endParaRPr>
          </a:p>
          <a:p>
            <a:pPr marL="742950" lvl="1" indent="-169863">
              <a:lnSpc>
                <a:spcPct val="106000"/>
              </a:lnSpc>
              <a:spcAft>
                <a:spcPts val="1200"/>
              </a:spcAft>
              <a:buFont typeface="Wingdings" panose="05000000000000000000" pitchFamily="2" charset="2"/>
              <a:buChar char="§"/>
            </a:pPr>
            <a:r>
              <a:rPr lang="en-US" b="1" dirty="0">
                <a:solidFill>
                  <a:schemeClr val="bg1"/>
                </a:solidFill>
              </a:rPr>
              <a:t>Different models applicable </a:t>
            </a:r>
          </a:p>
          <a:p>
            <a:pPr marL="742950" lvl="1" indent="-169863">
              <a:lnSpc>
                <a:spcPct val="106000"/>
              </a:lnSpc>
              <a:spcAft>
                <a:spcPts val="1200"/>
              </a:spcAft>
              <a:buFont typeface="Wingdings" panose="05000000000000000000" pitchFamily="2" charset="2"/>
              <a:buChar char="§"/>
            </a:pPr>
            <a:endParaRPr lang="en-US" b="1" dirty="0">
              <a:solidFill>
                <a:schemeClr val="bg1"/>
              </a:solidFill>
            </a:endParaRPr>
          </a:p>
        </p:txBody>
      </p:sp>
    </p:spTree>
    <p:extLst>
      <p:ext uri="{BB962C8B-B14F-4D97-AF65-F5344CB8AC3E}">
        <p14:creationId xmlns:p14="http://schemas.microsoft.com/office/powerpoint/2010/main" val="263531926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89125" y="2524271"/>
            <a:ext cx="8229600" cy="518540"/>
          </a:xfrm>
        </p:spPr>
        <p:txBody>
          <a:bodyPr/>
          <a:lstStyle/>
          <a:p>
            <a:pPr>
              <a:spcBef>
                <a:spcPts val="0"/>
              </a:spcBef>
              <a:buNone/>
            </a:pPr>
            <a:r>
              <a:rPr lang="en-US" sz="3200" dirty="0"/>
              <a:t>The future of learning is already here.  We need to change or get left behind.  Are you willing?</a:t>
            </a:r>
          </a:p>
        </p:txBody>
      </p:sp>
    </p:spTree>
    <p:extLst>
      <p:ext uri="{BB962C8B-B14F-4D97-AF65-F5344CB8AC3E}">
        <p14:creationId xmlns:p14="http://schemas.microsoft.com/office/powerpoint/2010/main" val="275590971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sz="4000" dirty="0"/>
              <a:t>Objectives/Agenda</a:t>
            </a:r>
          </a:p>
          <a:p>
            <a:pPr marL="568325" indent="-342900">
              <a:spcBef>
                <a:spcPts val="1800"/>
              </a:spcBef>
              <a:buClr>
                <a:schemeClr val="bg1"/>
              </a:buClr>
              <a:buSzPct val="100000"/>
              <a:buFont typeface="Wingdings" panose="05000000000000000000" pitchFamily="2" charset="2"/>
              <a:buChar char="§"/>
            </a:pPr>
            <a:r>
              <a:rPr lang="en-US" sz="2000" dirty="0"/>
              <a:t>Further explore what we know about learners today </a:t>
            </a:r>
          </a:p>
          <a:p>
            <a:pPr marL="568325" indent="-342900">
              <a:spcBef>
                <a:spcPts val="1800"/>
              </a:spcBef>
              <a:buClr>
                <a:schemeClr val="bg1"/>
              </a:buClr>
              <a:buSzPct val="100000"/>
              <a:buFont typeface="Wingdings" panose="05000000000000000000" pitchFamily="2" charset="2"/>
              <a:buChar char="§"/>
            </a:pPr>
            <a:r>
              <a:rPr lang="en-US" sz="2000" dirty="0"/>
              <a:t>Share our approach to accelerating development at Deloitte</a:t>
            </a:r>
          </a:p>
          <a:p>
            <a:pPr marL="568325" indent="-342900">
              <a:spcBef>
                <a:spcPts val="1800"/>
              </a:spcBef>
              <a:buClr>
                <a:schemeClr val="bg1"/>
              </a:buClr>
              <a:buSzPct val="100000"/>
              <a:buFont typeface="Wingdings" panose="05000000000000000000" pitchFamily="2" charset="2"/>
              <a:buChar char="§"/>
            </a:pPr>
            <a:r>
              <a:rPr lang="en-US" sz="2000" dirty="0"/>
              <a:t>Share our vision for continuing professional development at Deloitte </a:t>
            </a:r>
          </a:p>
          <a:p>
            <a:pPr marL="568325" indent="-342900">
              <a:spcBef>
                <a:spcPts val="1800"/>
              </a:spcBef>
              <a:buClr>
                <a:schemeClr val="bg1"/>
              </a:buClr>
              <a:buSzPct val="100000"/>
              <a:buFont typeface="Wingdings" panose="05000000000000000000" pitchFamily="2" charset="2"/>
              <a:buChar char="§"/>
            </a:pPr>
            <a:r>
              <a:rPr lang="en-US" sz="2000" dirty="0"/>
              <a:t>Explore the future of CPE </a:t>
            </a:r>
          </a:p>
        </p:txBody>
      </p:sp>
    </p:spTree>
    <p:extLst>
      <p:ext uri="{BB962C8B-B14F-4D97-AF65-F5344CB8AC3E}">
        <p14:creationId xmlns:p14="http://schemas.microsoft.com/office/powerpoint/2010/main" val="100959583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gray">
          <a:xfrm>
            <a:off x="1889761" y="5513405"/>
            <a:ext cx="7085201"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rgbClr val="313131"/>
                </a:solidFill>
              </a:rPr>
              <a:t>About Deloitte</a:t>
            </a:r>
            <a:r>
              <a:rPr lang="en-US" sz="700" dirty="0">
                <a:solidFill>
                  <a:srgbClr val="313131"/>
                </a:solidFill>
              </a:rPr>
              <a:t/>
            </a:r>
            <a:br>
              <a:rPr lang="en-US" sz="700" dirty="0">
                <a:solidFill>
                  <a:srgbClr val="313131"/>
                </a:solidFill>
              </a:rPr>
            </a:br>
            <a:r>
              <a:rPr lang="en-US" sz="700" dirty="0">
                <a:solidFill>
                  <a:srgbClr val="313131"/>
                </a:solidFill>
              </a:rPr>
              <a:t>Deloitte refers to one or more of Deloitte </a:t>
            </a:r>
            <a:r>
              <a:rPr lang="en-US" sz="700" noProof="1">
                <a:solidFill>
                  <a:srgbClr val="313131"/>
                </a:solidFill>
              </a:rPr>
              <a:t>Touche</a:t>
            </a:r>
            <a:r>
              <a:rPr lang="en-US" sz="700" dirty="0">
                <a:solidFill>
                  <a:srgbClr val="31313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a:solidFill>
                  <a:srgbClr val="313131"/>
                </a:solidFill>
                <a:hlinkClick r:id="rId3"/>
              </a:rPr>
              <a:t>www.deloitte.com/about</a:t>
            </a:r>
            <a:r>
              <a:rPr lang="en-US" sz="700" dirty="0">
                <a:solidFill>
                  <a:srgbClr val="313131"/>
                </a:solidFill>
              </a:rPr>
              <a:t> for a detailed description of DTTL and its member firms. Please see </a:t>
            </a:r>
            <a:r>
              <a:rPr lang="en-US" sz="700" dirty="0">
                <a:solidFill>
                  <a:srgbClr val="313131"/>
                </a:solidFill>
                <a:hlinkClick r:id="rId4"/>
              </a:rPr>
              <a:t>www.deloitte.com/us/about</a:t>
            </a:r>
            <a:r>
              <a:rPr lang="en-US" sz="700" dirty="0">
                <a:solidFill>
                  <a:srgbClr val="313131"/>
                </a:solidFill>
              </a:rPr>
              <a:t> for a detailed description of the legal structure of Deloitte LLP and its subsidiaries. Certain services may not be available to attest clients under the rules and regulations of public accounting.</a:t>
            </a:r>
            <a:br>
              <a:rPr lang="en-US" sz="700" dirty="0">
                <a:solidFill>
                  <a:srgbClr val="313131"/>
                </a:solidFill>
              </a:rPr>
            </a:br>
            <a:r>
              <a:rPr lang="en-US" sz="700" dirty="0">
                <a:solidFill>
                  <a:srgbClr val="313131"/>
                </a:solidFill>
              </a:rPr>
              <a:t/>
            </a:r>
            <a:br>
              <a:rPr lang="en-US" sz="700" dirty="0">
                <a:solidFill>
                  <a:srgbClr val="313131"/>
                </a:solidFill>
              </a:rPr>
            </a:br>
            <a:r>
              <a:rPr lang="en-US" sz="700" dirty="0">
                <a:solidFill>
                  <a:srgbClr val="313131"/>
                </a:solidFill>
              </a:rPr>
              <a:t>Copyright © 2014 Deloitte Development LLC. All rights reserved.</a:t>
            </a:r>
            <a:br>
              <a:rPr lang="en-US" sz="700" dirty="0">
                <a:solidFill>
                  <a:srgbClr val="313131"/>
                </a:solidFill>
              </a:rPr>
            </a:br>
            <a:r>
              <a:rPr lang="en-US" sz="700" dirty="0">
                <a:solidFill>
                  <a:srgbClr val="313131"/>
                </a:solidFill>
              </a:rPr>
              <a:t>Member of Deloitte Touche Tohmatsu Limited</a:t>
            </a:r>
          </a:p>
        </p:txBody>
      </p:sp>
    </p:spTree>
    <p:extLst>
      <p:ext uri="{BB962C8B-B14F-4D97-AF65-F5344CB8AC3E}">
        <p14:creationId xmlns:p14="http://schemas.microsoft.com/office/powerpoint/2010/main" val="240452281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89125" y="3169730"/>
            <a:ext cx="8229600" cy="518540"/>
          </a:xfrm>
        </p:spPr>
        <p:txBody>
          <a:bodyPr/>
          <a:lstStyle/>
          <a:p>
            <a:pPr>
              <a:spcBef>
                <a:spcPts val="0"/>
              </a:spcBef>
              <a:buNone/>
            </a:pPr>
            <a:r>
              <a:rPr lang="en-US" sz="3200" dirty="0"/>
              <a:t>What we know about learners today</a:t>
            </a:r>
          </a:p>
        </p:txBody>
      </p:sp>
    </p:spTree>
    <p:extLst>
      <p:ext uri="{BB962C8B-B14F-4D97-AF65-F5344CB8AC3E}">
        <p14:creationId xmlns:p14="http://schemas.microsoft.com/office/powerpoint/2010/main" val="251160018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889760" y="782621"/>
            <a:ext cx="8412481" cy="757255"/>
          </a:xfrm>
        </p:spPr>
        <p:txBody>
          <a:bodyPr/>
          <a:lstStyle/>
          <a:p>
            <a:r>
              <a:rPr lang="en-US" sz="1700" dirty="0"/>
              <a:t>Modern learners are impatient, distracted, overwhelmed and mobile – they expect to have learning available when they need it, they learn most of what they need to know by collaborating with others, and they need to learn continuously on their own initiative</a:t>
            </a:r>
          </a:p>
        </p:txBody>
      </p:sp>
      <p:sp>
        <p:nvSpPr>
          <p:cNvPr id="3" name="Title 2"/>
          <p:cNvSpPr>
            <a:spLocks noGrp="1"/>
          </p:cNvSpPr>
          <p:nvPr>
            <p:ph type="title"/>
          </p:nvPr>
        </p:nvSpPr>
        <p:spPr/>
        <p:txBody>
          <a:bodyPr/>
          <a:lstStyle/>
          <a:p>
            <a:r>
              <a:rPr lang="en-US" dirty="0" smtClean="0"/>
              <a:t>Our Audience: The Modern Learner</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1957" y="1659319"/>
            <a:ext cx="8088087" cy="4920779"/>
          </a:xfrm>
          <a:prstGeom prst="rect">
            <a:avLst/>
          </a:prstGeom>
        </p:spPr>
      </p:pic>
    </p:spTree>
    <p:extLst>
      <p:ext uri="{BB962C8B-B14F-4D97-AF65-F5344CB8AC3E}">
        <p14:creationId xmlns:p14="http://schemas.microsoft.com/office/powerpoint/2010/main" val="136514807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You’ve just seen our research based conclusions on learning today – now it’s your turn to explore implications</a:t>
            </a:r>
            <a:endParaRPr lang="en-US" dirty="0"/>
          </a:p>
        </p:txBody>
      </p:sp>
      <p:sp>
        <p:nvSpPr>
          <p:cNvPr id="3" name="Title 2"/>
          <p:cNvSpPr>
            <a:spLocks noGrp="1"/>
          </p:cNvSpPr>
          <p:nvPr>
            <p:ph type="title"/>
          </p:nvPr>
        </p:nvSpPr>
        <p:spPr/>
        <p:txBody>
          <a:bodyPr/>
          <a:lstStyle/>
          <a:p>
            <a:r>
              <a:rPr lang="en-US" dirty="0" smtClean="0"/>
              <a:t>Exploring The Modern Learner	</a:t>
            </a:r>
            <a:endParaRPr lang="en-US" dirty="0"/>
          </a:p>
        </p:txBody>
      </p:sp>
      <p:sp>
        <p:nvSpPr>
          <p:cNvPr id="5" name="Rectangle 4"/>
          <p:cNvSpPr/>
          <p:nvPr/>
        </p:nvSpPr>
        <p:spPr>
          <a:xfrm>
            <a:off x="1893103" y="1765674"/>
            <a:ext cx="8405794" cy="523220"/>
          </a:xfrm>
          <a:prstGeom prst="rect">
            <a:avLst/>
          </a:prstGeom>
        </p:spPr>
        <p:txBody>
          <a:bodyPr wrap="square">
            <a:spAutoFit/>
          </a:bodyPr>
          <a:lstStyle/>
          <a:p>
            <a:pPr marL="0" lvl="1" algn="ctr">
              <a:spcBef>
                <a:spcPts val="600"/>
              </a:spcBef>
              <a:defRPr/>
            </a:pPr>
            <a:r>
              <a:rPr lang="en-US" sz="1400" b="1" dirty="0">
                <a:solidFill>
                  <a:schemeClr val="tx1">
                    <a:lumMod val="50000"/>
                    <a:lumOff val="50000"/>
                  </a:schemeClr>
                </a:solidFill>
              </a:rPr>
              <a:t>Take a minute and read the infographic.  At your table take 5 min and please discuss the following:</a:t>
            </a:r>
          </a:p>
        </p:txBody>
      </p:sp>
      <p:grpSp>
        <p:nvGrpSpPr>
          <p:cNvPr id="13" name="Group 12"/>
          <p:cNvGrpSpPr/>
          <p:nvPr/>
        </p:nvGrpSpPr>
        <p:grpSpPr>
          <a:xfrm>
            <a:off x="1893103" y="1406609"/>
            <a:ext cx="8405794" cy="440505"/>
            <a:chOff x="365758" y="3996529"/>
            <a:chExt cx="3297113" cy="440505"/>
          </a:xfrm>
        </p:grpSpPr>
        <p:cxnSp>
          <p:nvCxnSpPr>
            <p:cNvPr id="14" name="Straight Connector 13"/>
            <p:cNvCxnSpPr>
              <a:stCxn id="15" idx="3"/>
            </p:cNvCxnSpPr>
            <p:nvPr/>
          </p:nvCxnSpPr>
          <p:spPr>
            <a:xfrm>
              <a:off x="2615380" y="4216782"/>
              <a:ext cx="1047491"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410236" y="3996529"/>
              <a:ext cx="1205144" cy="440505"/>
            </a:xfrm>
            <a:prstGeom prst="rect">
              <a:avLst/>
            </a:prstGeom>
            <a:solidFill>
              <a:schemeClr val="bg1">
                <a:alpha val="16000"/>
              </a:schemeClr>
            </a:solidFill>
            <a:ln w="19050" algn="ctr">
              <a:noFill/>
              <a:miter lim="800000"/>
              <a:headEnd/>
              <a:tailEnd/>
            </a:ln>
          </p:spPr>
          <p:txBody>
            <a:bodyPr rot="0" spcFirstLastPara="0" vertOverflow="overflow" horzOverflow="overflow" vert="horz" wrap="none" lIns="88900" tIns="88900" rIns="88900" bIns="88900" numCol="1" spcCol="0" rtlCol="0" fromWordArt="0" anchor="ctr" anchorCtr="0" forceAA="0" compatLnSpc="1">
              <a:prstTxWarp prst="textNoShape">
                <a:avLst/>
              </a:prstTxWarp>
              <a:spAutoFit/>
            </a:bodyPr>
            <a:lstStyle/>
            <a:p>
              <a:pPr algn="ctr">
                <a:lnSpc>
                  <a:spcPct val="106000"/>
                </a:lnSpc>
                <a:buFont typeface="Wingdings 2" pitchFamily="18" charset="2"/>
                <a:buNone/>
              </a:pPr>
              <a:r>
                <a:rPr lang="en-US" sz="1600" b="1" dirty="0">
                  <a:solidFill>
                    <a:schemeClr val="tx1">
                      <a:lumMod val="50000"/>
                      <a:lumOff val="50000"/>
                    </a:schemeClr>
                  </a:solidFill>
                </a:rPr>
                <a:t>Working Session Instructions</a:t>
              </a:r>
            </a:p>
          </p:txBody>
        </p:sp>
        <p:cxnSp>
          <p:nvCxnSpPr>
            <p:cNvPr id="16" name="Straight Connector 15"/>
            <p:cNvCxnSpPr>
              <a:endCxn id="15" idx="1"/>
            </p:cNvCxnSpPr>
            <p:nvPr/>
          </p:nvCxnSpPr>
          <p:spPr>
            <a:xfrm>
              <a:off x="365758" y="4216781"/>
              <a:ext cx="1044478" cy="1"/>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2004756" y="2412091"/>
            <a:ext cx="8144763" cy="1122161"/>
            <a:chOff x="480755" y="2681033"/>
            <a:chExt cx="8144763" cy="1122161"/>
          </a:xfrm>
        </p:grpSpPr>
        <p:sp>
          <p:nvSpPr>
            <p:cNvPr id="8" name="Rectangle 7"/>
            <p:cNvSpPr/>
            <p:nvPr/>
          </p:nvSpPr>
          <p:spPr bwMode="gray">
            <a:xfrm>
              <a:off x="480755" y="2699759"/>
              <a:ext cx="1841027" cy="1103435"/>
            </a:xfrm>
            <a:prstGeom prst="rect">
              <a:avLst/>
            </a:prstGeom>
            <a:solidFill>
              <a:schemeClr val="accent3"/>
            </a:solidFill>
            <a:ln w="1905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88900" tIns="88900" rIns="88900" bIns="88900" rtlCol="0" anchor="ctr"/>
            <a:lstStyle/>
            <a:p>
              <a:pPr algn="ctr">
                <a:lnSpc>
                  <a:spcPct val="106000"/>
                </a:lnSpc>
                <a:buFont typeface="Wingdings 2" pitchFamily="18" charset="2"/>
                <a:buNone/>
              </a:pPr>
              <a:r>
                <a:rPr lang="en-US" sz="1600" b="1" dirty="0">
                  <a:solidFill>
                    <a:prstClr val="white"/>
                  </a:solidFill>
                </a:rPr>
                <a:t>What surprises you?</a:t>
              </a:r>
            </a:p>
          </p:txBody>
        </p:sp>
        <p:sp>
          <p:nvSpPr>
            <p:cNvPr id="7" name="Text Placeholder 3"/>
            <p:cNvSpPr txBox="1">
              <a:spLocks/>
            </p:cNvSpPr>
            <p:nvPr/>
          </p:nvSpPr>
          <p:spPr bwMode="gray">
            <a:xfrm>
              <a:off x="3936826" y="2681033"/>
              <a:ext cx="4688692" cy="1103435"/>
            </a:xfrm>
            <a:prstGeom prst="rect">
              <a:avLst/>
            </a:prstGeom>
            <a:ln>
              <a:noFill/>
            </a:ln>
          </p:spPr>
          <p:style>
            <a:lnRef idx="2">
              <a:schemeClr val="accent3"/>
            </a:lnRef>
            <a:fillRef idx="1">
              <a:schemeClr val="lt1"/>
            </a:fillRef>
            <a:effectRef idx="0">
              <a:schemeClr val="accent3"/>
            </a:effectRef>
            <a:fontRef idx="minor">
              <a:schemeClr val="dk1"/>
            </a:fontRef>
          </p:style>
          <p:txBody>
            <a:bodyPr vert="horz" lIns="0" tIns="0" rIns="0" bIns="0" rtlCol="0" anchor="ctr" anchorCtr="0">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prstClr val="black"/>
                </a:buClr>
                <a:buSzPct val="100000"/>
                <a:buNone/>
              </a:pPr>
              <a:r>
                <a:rPr lang="en-US" sz="1600" b="1" dirty="0">
                  <a:solidFill>
                    <a:schemeClr val="accent3"/>
                  </a:solidFill>
                </a:rPr>
                <a:t>Discuss what surprises you</a:t>
              </a:r>
            </a:p>
          </p:txBody>
        </p:sp>
      </p:grpSp>
      <p:grpSp>
        <p:nvGrpSpPr>
          <p:cNvPr id="52" name="Group 51"/>
          <p:cNvGrpSpPr/>
          <p:nvPr/>
        </p:nvGrpSpPr>
        <p:grpSpPr>
          <a:xfrm>
            <a:off x="2004755" y="3707410"/>
            <a:ext cx="8144837" cy="1114468"/>
            <a:chOff x="480754" y="4099970"/>
            <a:chExt cx="8144837" cy="1114468"/>
          </a:xfrm>
        </p:grpSpPr>
        <p:sp>
          <p:nvSpPr>
            <p:cNvPr id="11" name="Text Placeholder 3"/>
            <p:cNvSpPr txBox="1">
              <a:spLocks/>
            </p:cNvSpPr>
            <p:nvPr/>
          </p:nvSpPr>
          <p:spPr bwMode="gray">
            <a:xfrm>
              <a:off x="3934422" y="4099970"/>
              <a:ext cx="4691169" cy="1094152"/>
            </a:xfrm>
            <a:prstGeom prst="rect">
              <a:avLst/>
            </a:prstGeom>
            <a:ln>
              <a:noFill/>
            </a:ln>
          </p:spPr>
          <p:style>
            <a:lnRef idx="2">
              <a:schemeClr val="accent1"/>
            </a:lnRef>
            <a:fillRef idx="1">
              <a:schemeClr val="lt1"/>
            </a:fillRef>
            <a:effectRef idx="0">
              <a:schemeClr val="accent1"/>
            </a:effectRef>
            <a:fontRef idx="minor">
              <a:schemeClr val="dk1"/>
            </a:fontRef>
          </p:style>
          <p:txBody>
            <a:bodyPr vert="horz" lIns="0" tIns="0" rIns="0" bIns="0" rtlCol="0" anchor="ctr" anchorCtr="0">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
                <a:spcBef>
                  <a:spcPts val="0"/>
                </a:spcBef>
                <a:spcAft>
                  <a:spcPts val="600"/>
                </a:spcAft>
                <a:buClr>
                  <a:prstClr val="black"/>
                </a:buClr>
                <a:buSzPct val="100000"/>
                <a:buNone/>
              </a:pPr>
              <a:r>
                <a:rPr lang="en-US" sz="1600" b="1" dirty="0">
                  <a:solidFill>
                    <a:schemeClr val="accent1"/>
                  </a:solidFill>
                </a:rPr>
                <a:t>Discuss what are the implications for on learning for our profession and what you do</a:t>
              </a:r>
            </a:p>
          </p:txBody>
        </p:sp>
        <p:sp>
          <p:nvSpPr>
            <p:cNvPr id="17" name="Rectangle 16"/>
            <p:cNvSpPr/>
            <p:nvPr/>
          </p:nvSpPr>
          <p:spPr bwMode="gray">
            <a:xfrm>
              <a:off x="480754" y="4111003"/>
              <a:ext cx="1841027" cy="1103435"/>
            </a:xfrm>
            <a:prstGeom prst="rect">
              <a:avLst/>
            </a:prstGeom>
            <a:solidFill>
              <a:schemeClr val="accent1"/>
            </a:solidFill>
            <a:ln w="1905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88900" tIns="88900" rIns="88900" bIns="88900" rtlCol="0" anchor="ctr"/>
            <a:lstStyle/>
            <a:p>
              <a:pPr algn="ctr">
                <a:lnSpc>
                  <a:spcPct val="106000"/>
                </a:lnSpc>
              </a:pPr>
              <a:r>
                <a:rPr lang="en-US" sz="1600" b="1" dirty="0">
                  <a:solidFill>
                    <a:prstClr val="white"/>
                  </a:solidFill>
                </a:rPr>
                <a:t>What are the implications?</a:t>
              </a:r>
            </a:p>
          </p:txBody>
        </p:sp>
      </p:grpSp>
      <p:grpSp>
        <p:nvGrpSpPr>
          <p:cNvPr id="53" name="Group 52"/>
          <p:cNvGrpSpPr/>
          <p:nvPr/>
        </p:nvGrpSpPr>
        <p:grpSpPr>
          <a:xfrm>
            <a:off x="2004755" y="4995037"/>
            <a:ext cx="8144837" cy="1114468"/>
            <a:chOff x="480754" y="5352757"/>
            <a:chExt cx="8144837" cy="1114468"/>
          </a:xfrm>
        </p:grpSpPr>
        <p:sp>
          <p:nvSpPr>
            <p:cNvPr id="45" name="Text Placeholder 3"/>
            <p:cNvSpPr txBox="1">
              <a:spLocks/>
            </p:cNvSpPr>
            <p:nvPr/>
          </p:nvSpPr>
          <p:spPr bwMode="gray">
            <a:xfrm>
              <a:off x="3934422" y="5352757"/>
              <a:ext cx="4691169" cy="1094152"/>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lIns="0" tIns="0" rIns="0" bIns="0" rtlCol="0" anchor="ctr" anchorCtr="0">
              <a:noAutofit/>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3975">
                <a:spcBef>
                  <a:spcPts val="0"/>
                </a:spcBef>
                <a:spcAft>
                  <a:spcPts val="600"/>
                </a:spcAft>
                <a:buClr>
                  <a:prstClr val="black"/>
                </a:buClr>
                <a:buSzPct val="100000"/>
                <a:buNone/>
              </a:pPr>
              <a:r>
                <a:rPr lang="en-US" sz="1600" b="1" dirty="0">
                  <a:solidFill>
                    <a:schemeClr val="accent4"/>
                  </a:solidFill>
                </a:rPr>
                <a:t>Discuss in what ways we need to change?  And how fast?</a:t>
              </a:r>
            </a:p>
          </p:txBody>
        </p:sp>
        <p:sp>
          <p:nvSpPr>
            <p:cNvPr id="46" name="Rectangle 45"/>
            <p:cNvSpPr/>
            <p:nvPr/>
          </p:nvSpPr>
          <p:spPr bwMode="gray">
            <a:xfrm>
              <a:off x="480754" y="5363790"/>
              <a:ext cx="1841027" cy="1103435"/>
            </a:xfrm>
            <a:prstGeom prst="rect">
              <a:avLst/>
            </a:prstGeom>
            <a:solidFill>
              <a:schemeClr val="accent4"/>
            </a:solidFill>
            <a:ln w="1905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88900" tIns="88900" rIns="88900" bIns="88900" rtlCol="0" anchor="ctr"/>
            <a:lstStyle/>
            <a:p>
              <a:pPr algn="ctr">
                <a:lnSpc>
                  <a:spcPct val="106000"/>
                </a:lnSpc>
              </a:pPr>
              <a:r>
                <a:rPr lang="en-US" sz="1600" b="1" dirty="0">
                  <a:solidFill>
                    <a:prstClr val="white"/>
                  </a:solidFill>
                </a:rPr>
                <a:t>How  do we need to change?</a:t>
              </a:r>
            </a:p>
          </p:txBody>
        </p:sp>
      </p:grpSp>
    </p:spTree>
    <p:extLst>
      <p:ext uri="{BB962C8B-B14F-4D97-AF65-F5344CB8AC3E}">
        <p14:creationId xmlns:p14="http://schemas.microsoft.com/office/powerpoint/2010/main" val="112877074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89125" y="3169730"/>
            <a:ext cx="8229600" cy="518540"/>
          </a:xfrm>
        </p:spPr>
        <p:txBody>
          <a:bodyPr/>
          <a:lstStyle/>
          <a:p>
            <a:pPr>
              <a:spcBef>
                <a:spcPts val="0"/>
              </a:spcBef>
              <a:buNone/>
            </a:pPr>
            <a:r>
              <a:rPr lang="en-US" sz="3200" dirty="0"/>
              <a:t>Accelerating Development at Deloitte</a:t>
            </a:r>
          </a:p>
        </p:txBody>
      </p:sp>
    </p:spTree>
    <p:extLst>
      <p:ext uri="{BB962C8B-B14F-4D97-AF65-F5344CB8AC3E}">
        <p14:creationId xmlns:p14="http://schemas.microsoft.com/office/powerpoint/2010/main" val="33520959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p:cNvSpPr>
            <a:spLocks noGrp="1"/>
          </p:cNvSpPr>
          <p:nvPr>
            <p:ph type="title"/>
          </p:nvPr>
        </p:nvSpPr>
        <p:spPr>
          <a:xfrm>
            <a:off x="1917700" y="333446"/>
            <a:ext cx="8474075" cy="242439"/>
          </a:xfrm>
        </p:spPr>
        <p:txBody>
          <a:bodyPr/>
          <a:lstStyle/>
          <a:p>
            <a:r>
              <a:rPr lang="en-US" dirty="0" smtClean="0"/>
              <a:t>The Four E’s</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33800" y="1447800"/>
            <a:ext cx="4724400" cy="4724398"/>
          </a:xfrm>
          <a:prstGeom prst="rect">
            <a:avLst/>
          </a:prstGeom>
        </p:spPr>
      </p:pic>
      <p:sp>
        <p:nvSpPr>
          <p:cNvPr id="4" name="Text Placeholder 1"/>
          <p:cNvSpPr txBox="1">
            <a:spLocks/>
          </p:cNvSpPr>
          <p:nvPr/>
        </p:nvSpPr>
        <p:spPr>
          <a:xfrm>
            <a:off x="1889760" y="782621"/>
            <a:ext cx="8412480" cy="757255"/>
          </a:xfrm>
          <a:prstGeom prst="rect">
            <a:avLst/>
          </a:prstGeom>
        </p:spPr>
        <p:txBody>
          <a:bodyPr/>
          <a:lst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rofessionals are already learning on their own through these E’s.  We believe if you orchestrate these in a holistic fashion you can accelerate development.</a:t>
            </a:r>
          </a:p>
        </p:txBody>
      </p:sp>
    </p:spTree>
    <p:extLst>
      <p:ext uri="{BB962C8B-B14F-4D97-AF65-F5344CB8AC3E}">
        <p14:creationId xmlns:p14="http://schemas.microsoft.com/office/powerpoint/2010/main" val="388080182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89125" y="3169730"/>
            <a:ext cx="8229600" cy="518540"/>
          </a:xfrm>
        </p:spPr>
        <p:txBody>
          <a:bodyPr/>
          <a:lstStyle/>
          <a:p>
            <a:pPr>
              <a:spcBef>
                <a:spcPts val="0"/>
              </a:spcBef>
              <a:buNone/>
            </a:pPr>
            <a:r>
              <a:rPr lang="en-US" sz="3200" dirty="0"/>
              <a:t>Our Vision for Developing our Professionals</a:t>
            </a:r>
          </a:p>
        </p:txBody>
      </p:sp>
    </p:spTree>
    <p:extLst>
      <p:ext uri="{BB962C8B-B14F-4D97-AF65-F5344CB8AC3E}">
        <p14:creationId xmlns:p14="http://schemas.microsoft.com/office/powerpoint/2010/main" val="62028211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Our vision </a:t>
            </a:r>
            <a:r>
              <a:rPr lang="en-US" dirty="0" smtClean="0"/>
              <a:t>for learning is a systematic approach that drives Audit </a:t>
            </a:r>
            <a:r>
              <a:rPr lang="en-US" dirty="0"/>
              <a:t>Excellence </a:t>
            </a:r>
            <a:r>
              <a:rPr lang="en-US" dirty="0" smtClean="0"/>
              <a:t>and aligns with the Holistic Development strategy</a:t>
            </a:r>
            <a:endParaRPr lang="en-US" dirty="0"/>
          </a:p>
        </p:txBody>
      </p:sp>
      <p:sp>
        <p:nvSpPr>
          <p:cNvPr id="3" name="Title 2"/>
          <p:cNvSpPr>
            <a:spLocks noGrp="1"/>
          </p:cNvSpPr>
          <p:nvPr>
            <p:ph type="title"/>
          </p:nvPr>
        </p:nvSpPr>
        <p:spPr>
          <a:xfrm>
            <a:off x="1889760" y="295683"/>
            <a:ext cx="8412480" cy="1244192"/>
          </a:xfrm>
        </p:spPr>
        <p:txBody>
          <a:bodyPr vert="horz" lIns="0" tIns="0" rIns="0" bIns="0" rtlCol="0" anchor="t" anchorCtr="0">
            <a:noAutofit/>
          </a:bodyPr>
          <a:lstStyle/>
          <a:p>
            <a:r>
              <a:rPr lang="en-US" dirty="0"/>
              <a:t>A New System for Developing Our People</a:t>
            </a:r>
          </a:p>
        </p:txBody>
      </p:sp>
      <p:grpSp>
        <p:nvGrpSpPr>
          <p:cNvPr id="9" name="Group 8"/>
          <p:cNvGrpSpPr/>
          <p:nvPr/>
        </p:nvGrpSpPr>
        <p:grpSpPr>
          <a:xfrm>
            <a:off x="1889760" y="1495488"/>
            <a:ext cx="8412480" cy="5172039"/>
            <a:chOff x="400594" y="1495487"/>
            <a:chExt cx="8299269" cy="5172039"/>
          </a:xfrm>
        </p:grpSpPr>
        <p:grpSp>
          <p:nvGrpSpPr>
            <p:cNvPr id="37" name="Group 36"/>
            <p:cNvGrpSpPr/>
            <p:nvPr/>
          </p:nvGrpSpPr>
          <p:grpSpPr>
            <a:xfrm>
              <a:off x="400594" y="1532263"/>
              <a:ext cx="8299269" cy="5135263"/>
              <a:chOff x="422366" y="1532263"/>
              <a:chExt cx="8299269" cy="5135263"/>
            </a:xfrm>
          </p:grpSpPr>
          <p:sp>
            <p:nvSpPr>
              <p:cNvPr id="5" name="Rectangle 4"/>
              <p:cNvSpPr/>
              <p:nvPr/>
            </p:nvSpPr>
            <p:spPr bwMode="gray">
              <a:xfrm>
                <a:off x="422366" y="3254297"/>
                <a:ext cx="8299269" cy="341322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6" name="Isosceles Triangle 5"/>
              <p:cNvSpPr/>
              <p:nvPr/>
            </p:nvSpPr>
            <p:spPr bwMode="gray">
              <a:xfrm rot="5400000">
                <a:off x="1539698" y="414931"/>
                <a:ext cx="2955034" cy="5189697"/>
              </a:xfrm>
              <a:prstGeom prst="triangle">
                <a:avLst>
                  <a:gd name="adj" fmla="val 54456"/>
                </a:avLst>
              </a:prstGeom>
              <a:solidFill>
                <a:schemeClr val="accent3"/>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7" name="Rectangle 6"/>
              <p:cNvSpPr/>
              <p:nvPr/>
            </p:nvSpPr>
            <p:spPr bwMode="gray">
              <a:xfrm flipV="1">
                <a:off x="431244" y="1539877"/>
                <a:ext cx="4257786" cy="2091240"/>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10" name="Isosceles Triangle 9"/>
              <p:cNvSpPr/>
              <p:nvPr/>
            </p:nvSpPr>
            <p:spPr bwMode="gray">
              <a:xfrm rot="16200000" flipH="1">
                <a:off x="4650030" y="414170"/>
                <a:ext cx="2953512" cy="5189697"/>
              </a:xfrm>
              <a:prstGeom prst="triangle">
                <a:avLst>
                  <a:gd name="adj" fmla="val 54456"/>
                </a:avLst>
              </a:prstGeom>
              <a:solidFill>
                <a:schemeClr val="accent2"/>
              </a:solidFill>
              <a:ln w="19050"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sp>
            <p:nvSpPr>
              <p:cNvPr id="11" name="Rectangle 10"/>
              <p:cNvSpPr/>
              <p:nvPr/>
            </p:nvSpPr>
            <p:spPr bwMode="gray">
              <a:xfrm flipH="1" flipV="1">
                <a:off x="4545103" y="1539874"/>
                <a:ext cx="4167652" cy="2059905"/>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sp>
          <p:nvSpPr>
            <p:cNvPr id="54" name="Rectangle 53"/>
            <p:cNvSpPr/>
            <p:nvPr/>
          </p:nvSpPr>
          <p:spPr bwMode="gray">
            <a:xfrm>
              <a:off x="3431788" y="3038078"/>
              <a:ext cx="521251" cy="53709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nvGrpSpPr>
            <p:cNvPr id="38" name="Group 37"/>
            <p:cNvGrpSpPr/>
            <p:nvPr/>
          </p:nvGrpSpPr>
          <p:grpSpPr>
            <a:xfrm>
              <a:off x="3584468" y="2575509"/>
              <a:ext cx="1885652" cy="1885652"/>
              <a:chOff x="-658596" y="4117924"/>
              <a:chExt cx="1885652" cy="1885652"/>
            </a:xfrm>
          </p:grpSpPr>
          <p:grpSp>
            <p:nvGrpSpPr>
              <p:cNvPr id="12" name="Group 11"/>
              <p:cNvGrpSpPr/>
              <p:nvPr/>
            </p:nvGrpSpPr>
            <p:grpSpPr>
              <a:xfrm>
                <a:off x="-658596" y="4117924"/>
                <a:ext cx="1885652" cy="1885652"/>
                <a:chOff x="4917804" y="2953335"/>
                <a:chExt cx="2271010" cy="2271010"/>
              </a:xfrm>
            </p:grpSpPr>
            <p:sp>
              <p:nvSpPr>
                <p:cNvPr id="13" name="Oval 12"/>
                <p:cNvSpPr>
                  <a:spLocks noChangeAspect="1"/>
                </p:cNvSpPr>
                <p:nvPr/>
              </p:nvSpPr>
              <p:spPr bwMode="gray">
                <a:xfrm>
                  <a:off x="4917804" y="2953335"/>
                  <a:ext cx="2271010" cy="2271010"/>
                </a:xfrm>
                <a:prstGeom prst="ellipse">
                  <a:avLst/>
                </a:prstGeom>
                <a:solidFill>
                  <a:schemeClr val="bg1"/>
                </a:solidFill>
                <a:ln w="38100" algn="ctr">
                  <a:noFill/>
                  <a:miter lim="800000"/>
                  <a:headEnd/>
                  <a:tailEnd/>
                </a:ln>
              </p:spPr>
              <p:txBody>
                <a:bodyPr wrap="square" lIns="0" tIns="0" rIns="0" bIns="0" rtlCol="0" anchor="ctr"/>
                <a:lstStyle/>
                <a:p>
                  <a:pPr algn="ctr">
                    <a:lnSpc>
                      <a:spcPct val="106000"/>
                    </a:lnSpc>
                    <a:buFont typeface="Wingdings 2" pitchFamily="18" charset="2"/>
                    <a:buNone/>
                  </a:pPr>
                  <a:endParaRPr lang="en-US" b="1" dirty="0">
                    <a:solidFill>
                      <a:prstClr val="white"/>
                    </a:solidFill>
                  </a:endParaRPr>
                </a:p>
              </p:txBody>
            </p:sp>
            <p:sp>
              <p:nvSpPr>
                <p:cNvPr id="14" name="Oval 13"/>
                <p:cNvSpPr/>
                <p:nvPr/>
              </p:nvSpPr>
              <p:spPr bwMode="gray">
                <a:xfrm>
                  <a:off x="5003171" y="3037176"/>
                  <a:ext cx="2103121" cy="2103121"/>
                </a:xfrm>
                <a:prstGeom prst="ellipse">
                  <a:avLst/>
                </a:prstGeom>
                <a:solidFill>
                  <a:schemeClr val="bg2"/>
                </a:solidFill>
                <a:ln w="38100" algn="ctr">
                  <a:noFill/>
                  <a:miter lim="800000"/>
                  <a:headEnd/>
                  <a:tailEnd/>
                </a:ln>
              </p:spPr>
              <p:txBody>
                <a:bodyPr wrap="square" lIns="0" tIns="0" rIns="0" bIns="0" rtlCol="0" anchor="ctr"/>
                <a:lstStyle/>
                <a:p>
                  <a:pPr algn="ctr">
                    <a:lnSpc>
                      <a:spcPct val="106000"/>
                    </a:lnSpc>
                    <a:buFont typeface="Wingdings 2" pitchFamily="18" charset="2"/>
                    <a:buNone/>
                  </a:pPr>
                  <a:endParaRPr lang="en-US" b="1" dirty="0">
                    <a:solidFill>
                      <a:prstClr val="white"/>
                    </a:solidFill>
                  </a:endParaRPr>
                </a:p>
              </p:txBody>
            </p:sp>
          </p:grpSp>
          <p:sp>
            <p:nvSpPr>
              <p:cNvPr id="15" name="Rectangle 14"/>
              <p:cNvSpPr/>
              <p:nvPr/>
            </p:nvSpPr>
            <p:spPr>
              <a:xfrm>
                <a:off x="-497923" y="4869852"/>
                <a:ext cx="1564306" cy="830997"/>
              </a:xfrm>
              <a:prstGeom prst="rect">
                <a:avLst/>
              </a:prstGeom>
            </p:spPr>
            <p:txBody>
              <a:bodyPr wrap="square" lIns="0" tIns="0" rIns="0" bIns="0" anchor="ctr" anchorCtr="0">
                <a:spAutoFit/>
              </a:bodyPr>
              <a:lstStyle/>
              <a:p>
                <a:pPr algn="ctr">
                  <a:spcAft>
                    <a:spcPts val="600"/>
                  </a:spcAft>
                </a:pPr>
                <a:r>
                  <a:rPr lang="en-US" b="1" dirty="0">
                    <a:solidFill>
                      <a:prstClr val="white"/>
                    </a:solidFill>
                    <a:effectLst>
                      <a:outerShdw blurRad="38100" dist="38100" dir="2700000" algn="tl">
                        <a:srgbClr val="000000">
                          <a:alpha val="43137"/>
                        </a:srgbClr>
                      </a:outerShdw>
                    </a:effectLst>
                  </a:rPr>
                  <a:t>Driving Audit Excellence By…</a:t>
                </a:r>
                <a:endParaRPr lang="en-US" sz="1400" dirty="0">
                  <a:solidFill>
                    <a:prstClr val="white"/>
                  </a:solidFill>
                  <a:effectLst>
                    <a:outerShdw blurRad="38100" dist="38100" dir="2700000" algn="tl">
                      <a:srgbClr val="000000">
                        <a:alpha val="43137"/>
                      </a:srgbClr>
                    </a:outerShdw>
                  </a:effectLst>
                </a:endParaRPr>
              </a:p>
            </p:txBody>
          </p:sp>
          <p:sp>
            <p:nvSpPr>
              <p:cNvPr id="16" name="Freeform 16"/>
              <p:cNvSpPr>
                <a:spLocks noChangeAspect="1" noEditPoints="1"/>
              </p:cNvSpPr>
              <p:nvPr/>
            </p:nvSpPr>
            <p:spPr bwMode="auto">
              <a:xfrm>
                <a:off x="102998" y="4309691"/>
                <a:ext cx="348412" cy="523992"/>
              </a:xfrm>
              <a:custGeom>
                <a:avLst/>
                <a:gdLst>
                  <a:gd name="T0" fmla="*/ 99 w 127"/>
                  <a:gd name="T1" fmla="*/ 122 h 191"/>
                  <a:gd name="T2" fmla="*/ 108 w 127"/>
                  <a:gd name="T3" fmla="*/ 122 h 191"/>
                  <a:gd name="T4" fmla="*/ 108 w 127"/>
                  <a:gd name="T5" fmla="*/ 191 h 191"/>
                  <a:gd name="T6" fmla="*/ 64 w 127"/>
                  <a:gd name="T7" fmla="*/ 153 h 191"/>
                  <a:gd name="T8" fmla="*/ 21 w 127"/>
                  <a:gd name="T9" fmla="*/ 191 h 191"/>
                  <a:gd name="T10" fmla="*/ 21 w 127"/>
                  <a:gd name="T11" fmla="*/ 122 h 191"/>
                  <a:gd name="T12" fmla="*/ 28 w 127"/>
                  <a:gd name="T13" fmla="*/ 122 h 191"/>
                  <a:gd name="T14" fmla="*/ 42 w 127"/>
                  <a:gd name="T15" fmla="*/ 146 h 191"/>
                  <a:gd name="T16" fmla="*/ 64 w 127"/>
                  <a:gd name="T17" fmla="*/ 132 h 191"/>
                  <a:gd name="T18" fmla="*/ 85 w 127"/>
                  <a:gd name="T19" fmla="*/ 146 h 191"/>
                  <a:gd name="T20" fmla="*/ 99 w 127"/>
                  <a:gd name="T21" fmla="*/ 122 h 191"/>
                  <a:gd name="T22" fmla="*/ 118 w 127"/>
                  <a:gd name="T23" fmla="*/ 63 h 191"/>
                  <a:gd name="T24" fmla="*/ 127 w 127"/>
                  <a:gd name="T25" fmla="*/ 82 h 191"/>
                  <a:gd name="T26" fmla="*/ 111 w 127"/>
                  <a:gd name="T27" fmla="*/ 92 h 191"/>
                  <a:gd name="T28" fmla="*/ 111 w 127"/>
                  <a:gd name="T29" fmla="*/ 111 h 191"/>
                  <a:gd name="T30" fmla="*/ 92 w 127"/>
                  <a:gd name="T31" fmla="*/ 111 h 191"/>
                  <a:gd name="T32" fmla="*/ 80 w 127"/>
                  <a:gd name="T33" fmla="*/ 127 h 191"/>
                  <a:gd name="T34" fmla="*/ 64 w 127"/>
                  <a:gd name="T35" fmla="*/ 118 h 191"/>
                  <a:gd name="T36" fmla="*/ 47 w 127"/>
                  <a:gd name="T37" fmla="*/ 127 h 191"/>
                  <a:gd name="T38" fmla="*/ 38 w 127"/>
                  <a:gd name="T39" fmla="*/ 111 h 191"/>
                  <a:gd name="T40" fmla="*/ 16 w 127"/>
                  <a:gd name="T41" fmla="*/ 111 h 191"/>
                  <a:gd name="T42" fmla="*/ 16 w 127"/>
                  <a:gd name="T43" fmla="*/ 92 h 191"/>
                  <a:gd name="T44" fmla="*/ 0 w 127"/>
                  <a:gd name="T45" fmla="*/ 82 h 191"/>
                  <a:gd name="T46" fmla="*/ 9 w 127"/>
                  <a:gd name="T47" fmla="*/ 63 h 191"/>
                  <a:gd name="T48" fmla="*/ 0 w 127"/>
                  <a:gd name="T49" fmla="*/ 47 h 191"/>
                  <a:gd name="T50" fmla="*/ 16 w 127"/>
                  <a:gd name="T51" fmla="*/ 37 h 191"/>
                  <a:gd name="T52" fmla="*/ 16 w 127"/>
                  <a:gd name="T53" fmla="*/ 19 h 191"/>
                  <a:gd name="T54" fmla="*/ 38 w 127"/>
                  <a:gd name="T55" fmla="*/ 19 h 191"/>
                  <a:gd name="T56" fmla="*/ 47 w 127"/>
                  <a:gd name="T57" fmla="*/ 0 h 191"/>
                  <a:gd name="T58" fmla="*/ 64 w 127"/>
                  <a:gd name="T59" fmla="*/ 9 h 191"/>
                  <a:gd name="T60" fmla="*/ 80 w 127"/>
                  <a:gd name="T61" fmla="*/ 0 h 191"/>
                  <a:gd name="T62" fmla="*/ 92 w 127"/>
                  <a:gd name="T63" fmla="*/ 19 h 191"/>
                  <a:gd name="T64" fmla="*/ 111 w 127"/>
                  <a:gd name="T65" fmla="*/ 19 h 191"/>
                  <a:gd name="T66" fmla="*/ 111 w 127"/>
                  <a:gd name="T67" fmla="*/ 37 h 191"/>
                  <a:gd name="T68" fmla="*/ 127 w 127"/>
                  <a:gd name="T69" fmla="*/ 47 h 191"/>
                  <a:gd name="T70" fmla="*/ 118 w 127"/>
                  <a:gd name="T71" fmla="*/ 6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191">
                    <a:moveTo>
                      <a:pt x="99" y="122"/>
                    </a:moveTo>
                    <a:lnTo>
                      <a:pt x="108" y="122"/>
                    </a:lnTo>
                    <a:lnTo>
                      <a:pt x="108" y="191"/>
                    </a:lnTo>
                    <a:lnTo>
                      <a:pt x="64" y="153"/>
                    </a:lnTo>
                    <a:lnTo>
                      <a:pt x="21" y="191"/>
                    </a:lnTo>
                    <a:lnTo>
                      <a:pt x="21" y="122"/>
                    </a:lnTo>
                    <a:lnTo>
                      <a:pt x="28" y="122"/>
                    </a:lnTo>
                    <a:lnTo>
                      <a:pt x="42" y="146"/>
                    </a:lnTo>
                    <a:lnTo>
                      <a:pt x="64" y="132"/>
                    </a:lnTo>
                    <a:lnTo>
                      <a:pt x="85" y="146"/>
                    </a:lnTo>
                    <a:lnTo>
                      <a:pt x="99" y="122"/>
                    </a:lnTo>
                    <a:close/>
                    <a:moveTo>
                      <a:pt x="118" y="63"/>
                    </a:moveTo>
                    <a:lnTo>
                      <a:pt x="127" y="82"/>
                    </a:lnTo>
                    <a:lnTo>
                      <a:pt x="111" y="92"/>
                    </a:lnTo>
                    <a:lnTo>
                      <a:pt x="111" y="111"/>
                    </a:lnTo>
                    <a:lnTo>
                      <a:pt x="92" y="111"/>
                    </a:lnTo>
                    <a:lnTo>
                      <a:pt x="80" y="127"/>
                    </a:lnTo>
                    <a:lnTo>
                      <a:pt x="64" y="118"/>
                    </a:lnTo>
                    <a:lnTo>
                      <a:pt x="47" y="127"/>
                    </a:lnTo>
                    <a:lnTo>
                      <a:pt x="38" y="111"/>
                    </a:lnTo>
                    <a:lnTo>
                      <a:pt x="16" y="111"/>
                    </a:lnTo>
                    <a:lnTo>
                      <a:pt x="16" y="92"/>
                    </a:lnTo>
                    <a:lnTo>
                      <a:pt x="0" y="82"/>
                    </a:lnTo>
                    <a:lnTo>
                      <a:pt x="9" y="63"/>
                    </a:lnTo>
                    <a:lnTo>
                      <a:pt x="0" y="47"/>
                    </a:lnTo>
                    <a:lnTo>
                      <a:pt x="16" y="37"/>
                    </a:lnTo>
                    <a:lnTo>
                      <a:pt x="16" y="19"/>
                    </a:lnTo>
                    <a:lnTo>
                      <a:pt x="38" y="19"/>
                    </a:lnTo>
                    <a:lnTo>
                      <a:pt x="47" y="0"/>
                    </a:lnTo>
                    <a:lnTo>
                      <a:pt x="64" y="9"/>
                    </a:lnTo>
                    <a:lnTo>
                      <a:pt x="80" y="0"/>
                    </a:lnTo>
                    <a:lnTo>
                      <a:pt x="92" y="19"/>
                    </a:lnTo>
                    <a:lnTo>
                      <a:pt x="111" y="19"/>
                    </a:lnTo>
                    <a:lnTo>
                      <a:pt x="111" y="37"/>
                    </a:lnTo>
                    <a:lnTo>
                      <a:pt x="127" y="47"/>
                    </a:lnTo>
                    <a:lnTo>
                      <a:pt x="118" y="63"/>
                    </a:lnTo>
                    <a:close/>
                  </a:path>
                </a:pathLst>
              </a:custGeom>
              <a:solidFill>
                <a:schemeClr val="bg1"/>
              </a:solidFill>
              <a:ln>
                <a:solidFill>
                  <a:schemeClr val="bg2">
                    <a:lumMod val="20000"/>
                    <a:lumOff val="80000"/>
                  </a:schemeClr>
                </a:solid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cxnSp>
          <p:nvCxnSpPr>
            <p:cNvPr id="71" name="Straight Connector 70"/>
            <p:cNvCxnSpPr/>
            <p:nvPr/>
          </p:nvCxnSpPr>
          <p:spPr>
            <a:xfrm>
              <a:off x="4536172" y="1495487"/>
              <a:ext cx="0" cy="109728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9" name="Rectangle 148"/>
            <p:cNvSpPr/>
            <p:nvPr/>
          </p:nvSpPr>
          <p:spPr>
            <a:xfrm>
              <a:off x="1096369" y="1642859"/>
              <a:ext cx="2693478" cy="615553"/>
            </a:xfrm>
            <a:prstGeom prst="rect">
              <a:avLst/>
            </a:prstGeom>
          </p:spPr>
          <p:txBody>
            <a:bodyPr wrap="square" lIns="0" tIns="0" rIns="0" bIns="0">
              <a:spAutoFit/>
            </a:bodyPr>
            <a:lstStyle/>
            <a:p>
              <a:pPr algn="ctr">
                <a:spcAft>
                  <a:spcPts val="600"/>
                </a:spcAft>
              </a:pPr>
              <a:r>
                <a:rPr lang="en-US" sz="2000" b="1" dirty="0">
                  <a:solidFill>
                    <a:prstClr val="white"/>
                  </a:solidFill>
                  <a:effectLst>
                    <a:outerShdw blurRad="38100" dist="38100" dir="2700000" algn="tl">
                      <a:srgbClr val="000000">
                        <a:alpha val="43137"/>
                      </a:srgbClr>
                    </a:outerShdw>
                  </a:effectLst>
                </a:rPr>
                <a:t>Building Core Skills for Audit Excellence</a:t>
              </a:r>
            </a:p>
          </p:txBody>
        </p:sp>
        <p:sp>
          <p:nvSpPr>
            <p:cNvPr id="150" name="Rectangle 149"/>
            <p:cNvSpPr/>
            <p:nvPr/>
          </p:nvSpPr>
          <p:spPr>
            <a:xfrm>
              <a:off x="5079443" y="1645686"/>
              <a:ext cx="3027924" cy="615553"/>
            </a:xfrm>
            <a:prstGeom prst="rect">
              <a:avLst/>
            </a:prstGeom>
          </p:spPr>
          <p:txBody>
            <a:bodyPr wrap="square" lIns="0" tIns="0" rIns="0" bIns="0">
              <a:spAutoFit/>
            </a:bodyPr>
            <a:lstStyle/>
            <a:p>
              <a:pPr algn="ctr">
                <a:spcAft>
                  <a:spcPts val="600"/>
                </a:spcAft>
              </a:pPr>
              <a:r>
                <a:rPr lang="en-US" sz="2000" b="1" dirty="0">
                  <a:solidFill>
                    <a:prstClr val="white"/>
                  </a:solidFill>
                  <a:effectLst>
                    <a:outerShdw blurRad="38100" dist="38100" dir="2700000" algn="tl">
                      <a:srgbClr val="000000">
                        <a:alpha val="43137"/>
                      </a:srgbClr>
                    </a:outerShdw>
                  </a:effectLst>
                </a:rPr>
                <a:t>Supporting On-The-Job Performance</a:t>
              </a:r>
            </a:p>
          </p:txBody>
        </p:sp>
        <p:sp>
          <p:nvSpPr>
            <p:cNvPr id="151" name="Rectangle 150"/>
            <p:cNvSpPr/>
            <p:nvPr/>
          </p:nvSpPr>
          <p:spPr>
            <a:xfrm>
              <a:off x="1099650" y="2439968"/>
              <a:ext cx="2737011" cy="307777"/>
            </a:xfrm>
            <a:prstGeom prst="rect">
              <a:avLst/>
            </a:prstGeom>
          </p:spPr>
          <p:txBody>
            <a:bodyPr wrap="square">
              <a:spAutoFit/>
            </a:bodyPr>
            <a:lstStyle/>
            <a:p>
              <a:r>
                <a:rPr lang="en-US" sz="1400" b="1" dirty="0">
                  <a:solidFill>
                    <a:prstClr val="white"/>
                  </a:solidFill>
                </a:rPr>
                <a:t>Regional/DU Learning Weeks</a:t>
              </a:r>
            </a:p>
          </p:txBody>
        </p:sp>
        <p:sp>
          <p:nvSpPr>
            <p:cNvPr id="152" name="Rectangle 151"/>
            <p:cNvSpPr/>
            <p:nvPr/>
          </p:nvSpPr>
          <p:spPr>
            <a:xfrm>
              <a:off x="1096142" y="2753853"/>
              <a:ext cx="2515578" cy="769441"/>
            </a:xfrm>
            <a:prstGeom prst="rect">
              <a:avLst/>
            </a:prstGeom>
          </p:spPr>
          <p:txBody>
            <a:bodyPr wrap="square">
              <a:spAutoFit/>
            </a:bodyPr>
            <a:lstStyle/>
            <a:p>
              <a:r>
                <a:rPr lang="en-US" sz="1100" dirty="0">
                  <a:solidFill>
                    <a:prstClr val="white"/>
                  </a:solidFill>
                </a:rPr>
                <a:t>Immersive learning experiences designed to build the core skills of Audit Excellence common to all professionals at a given level</a:t>
              </a:r>
              <a:endParaRPr lang="en-US" sz="1400" dirty="0">
                <a:solidFill>
                  <a:prstClr val="white"/>
                </a:solidFill>
                <a:effectLst>
                  <a:outerShdw blurRad="38100" dist="38100" dir="2700000" algn="tl">
                    <a:srgbClr val="000000">
                      <a:alpha val="43137"/>
                    </a:srgbClr>
                  </a:outerShdw>
                </a:effectLst>
              </a:endParaRPr>
            </a:p>
          </p:txBody>
        </p:sp>
        <p:sp>
          <p:nvSpPr>
            <p:cNvPr id="153" name="Freeform 63"/>
            <p:cNvSpPr>
              <a:spLocks noChangeAspect="1"/>
            </p:cNvSpPr>
            <p:nvPr/>
          </p:nvSpPr>
          <p:spPr bwMode="auto">
            <a:xfrm>
              <a:off x="569149" y="2559046"/>
              <a:ext cx="393762" cy="182880"/>
            </a:xfrm>
            <a:custGeom>
              <a:avLst/>
              <a:gdLst>
                <a:gd name="T0" fmla="*/ 211 w 214"/>
                <a:gd name="T1" fmla="*/ 35 h 99"/>
                <a:gd name="T2" fmla="*/ 112 w 214"/>
                <a:gd name="T3" fmla="*/ 1 h 99"/>
                <a:gd name="T4" fmla="*/ 103 w 214"/>
                <a:gd name="T5" fmla="*/ 1 h 99"/>
                <a:gd name="T6" fmla="*/ 2 w 214"/>
                <a:gd name="T7" fmla="*/ 36 h 99"/>
                <a:gd name="T8" fmla="*/ 2 w 214"/>
                <a:gd name="T9" fmla="*/ 39 h 99"/>
                <a:gd name="T10" fmla="*/ 43 w 214"/>
                <a:gd name="T11" fmla="*/ 53 h 99"/>
                <a:gd name="T12" fmla="*/ 43 w 214"/>
                <a:gd name="T13" fmla="*/ 83 h 99"/>
                <a:gd name="T14" fmla="*/ 76 w 214"/>
                <a:gd name="T15" fmla="*/ 83 h 99"/>
                <a:gd name="T16" fmla="*/ 104 w 214"/>
                <a:gd name="T17" fmla="*/ 99 h 99"/>
                <a:gd name="T18" fmla="*/ 107 w 214"/>
                <a:gd name="T19" fmla="*/ 99 h 99"/>
                <a:gd name="T20" fmla="*/ 135 w 214"/>
                <a:gd name="T21" fmla="*/ 83 h 99"/>
                <a:gd name="T22" fmla="*/ 166 w 214"/>
                <a:gd name="T23" fmla="*/ 82 h 99"/>
                <a:gd name="T24" fmla="*/ 166 w 214"/>
                <a:gd name="T25" fmla="*/ 54 h 99"/>
                <a:gd name="T26" fmla="*/ 183 w 214"/>
                <a:gd name="T27" fmla="*/ 48 h 99"/>
                <a:gd name="T28" fmla="*/ 183 w 214"/>
                <a:gd name="T29" fmla="*/ 55 h 99"/>
                <a:gd name="T30" fmla="*/ 180 w 214"/>
                <a:gd name="T31" fmla="*/ 61 h 99"/>
                <a:gd name="T32" fmla="*/ 182 w 214"/>
                <a:gd name="T33" fmla="*/ 65 h 99"/>
                <a:gd name="T34" fmla="*/ 177 w 214"/>
                <a:gd name="T35" fmla="*/ 94 h 99"/>
                <a:gd name="T36" fmla="*/ 194 w 214"/>
                <a:gd name="T37" fmla="*/ 94 h 99"/>
                <a:gd name="T38" fmla="*/ 189 w 214"/>
                <a:gd name="T39" fmla="*/ 65 h 99"/>
                <a:gd name="T40" fmla="*/ 191 w 214"/>
                <a:gd name="T41" fmla="*/ 61 h 99"/>
                <a:gd name="T42" fmla="*/ 188 w 214"/>
                <a:gd name="T43" fmla="*/ 55 h 99"/>
                <a:gd name="T44" fmla="*/ 188 w 214"/>
                <a:gd name="T45" fmla="*/ 47 h 99"/>
                <a:gd name="T46" fmla="*/ 211 w 214"/>
                <a:gd name="T47" fmla="*/ 38 h 99"/>
                <a:gd name="T48" fmla="*/ 211 w 214"/>
                <a:gd name="T49" fmla="*/ 3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99">
                  <a:moveTo>
                    <a:pt x="211" y="35"/>
                  </a:moveTo>
                  <a:cubicBezTo>
                    <a:pt x="112" y="1"/>
                    <a:pt x="112" y="1"/>
                    <a:pt x="112" y="1"/>
                  </a:cubicBezTo>
                  <a:cubicBezTo>
                    <a:pt x="109" y="0"/>
                    <a:pt x="105" y="0"/>
                    <a:pt x="103" y="1"/>
                  </a:cubicBezTo>
                  <a:cubicBezTo>
                    <a:pt x="2" y="36"/>
                    <a:pt x="2" y="36"/>
                    <a:pt x="2" y="36"/>
                  </a:cubicBezTo>
                  <a:cubicBezTo>
                    <a:pt x="0" y="37"/>
                    <a:pt x="0" y="38"/>
                    <a:pt x="2" y="39"/>
                  </a:cubicBezTo>
                  <a:cubicBezTo>
                    <a:pt x="43" y="53"/>
                    <a:pt x="43" y="53"/>
                    <a:pt x="43" y="53"/>
                  </a:cubicBezTo>
                  <a:cubicBezTo>
                    <a:pt x="43" y="83"/>
                    <a:pt x="43" y="83"/>
                    <a:pt x="43" y="83"/>
                  </a:cubicBezTo>
                  <a:cubicBezTo>
                    <a:pt x="50" y="80"/>
                    <a:pt x="63" y="79"/>
                    <a:pt x="76" y="83"/>
                  </a:cubicBezTo>
                  <a:cubicBezTo>
                    <a:pt x="89" y="87"/>
                    <a:pt x="100" y="93"/>
                    <a:pt x="104" y="99"/>
                  </a:cubicBezTo>
                  <a:cubicBezTo>
                    <a:pt x="105" y="99"/>
                    <a:pt x="107" y="98"/>
                    <a:pt x="107" y="99"/>
                  </a:cubicBezTo>
                  <a:cubicBezTo>
                    <a:pt x="112" y="93"/>
                    <a:pt x="122" y="87"/>
                    <a:pt x="135" y="83"/>
                  </a:cubicBezTo>
                  <a:cubicBezTo>
                    <a:pt x="147" y="80"/>
                    <a:pt x="158" y="80"/>
                    <a:pt x="166" y="82"/>
                  </a:cubicBezTo>
                  <a:cubicBezTo>
                    <a:pt x="166" y="54"/>
                    <a:pt x="166" y="54"/>
                    <a:pt x="166" y="54"/>
                  </a:cubicBezTo>
                  <a:cubicBezTo>
                    <a:pt x="183" y="48"/>
                    <a:pt x="183" y="48"/>
                    <a:pt x="183" y="48"/>
                  </a:cubicBezTo>
                  <a:cubicBezTo>
                    <a:pt x="183" y="55"/>
                    <a:pt x="183" y="55"/>
                    <a:pt x="183" y="55"/>
                  </a:cubicBezTo>
                  <a:cubicBezTo>
                    <a:pt x="181" y="56"/>
                    <a:pt x="180" y="58"/>
                    <a:pt x="180" y="61"/>
                  </a:cubicBezTo>
                  <a:cubicBezTo>
                    <a:pt x="180" y="62"/>
                    <a:pt x="180" y="64"/>
                    <a:pt x="182" y="65"/>
                  </a:cubicBezTo>
                  <a:cubicBezTo>
                    <a:pt x="177" y="94"/>
                    <a:pt x="177" y="94"/>
                    <a:pt x="177" y="94"/>
                  </a:cubicBezTo>
                  <a:cubicBezTo>
                    <a:pt x="194" y="94"/>
                    <a:pt x="194" y="94"/>
                    <a:pt x="194" y="94"/>
                  </a:cubicBezTo>
                  <a:cubicBezTo>
                    <a:pt x="189" y="65"/>
                    <a:pt x="189" y="65"/>
                    <a:pt x="189" y="65"/>
                  </a:cubicBezTo>
                  <a:cubicBezTo>
                    <a:pt x="190" y="64"/>
                    <a:pt x="191" y="63"/>
                    <a:pt x="191" y="61"/>
                  </a:cubicBezTo>
                  <a:cubicBezTo>
                    <a:pt x="191" y="58"/>
                    <a:pt x="190" y="56"/>
                    <a:pt x="188" y="55"/>
                  </a:cubicBezTo>
                  <a:cubicBezTo>
                    <a:pt x="188" y="47"/>
                    <a:pt x="188" y="47"/>
                    <a:pt x="188" y="47"/>
                  </a:cubicBezTo>
                  <a:cubicBezTo>
                    <a:pt x="211" y="38"/>
                    <a:pt x="211" y="38"/>
                    <a:pt x="211" y="38"/>
                  </a:cubicBezTo>
                  <a:cubicBezTo>
                    <a:pt x="214" y="38"/>
                    <a:pt x="214" y="36"/>
                    <a:pt x="211"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4" name="Oval 153"/>
            <p:cNvSpPr/>
            <p:nvPr/>
          </p:nvSpPr>
          <p:spPr>
            <a:xfrm rot="15256471">
              <a:off x="537524" y="2428774"/>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grpSp>
          <p:nvGrpSpPr>
            <p:cNvPr id="155" name="Group 154"/>
            <p:cNvGrpSpPr/>
            <p:nvPr/>
          </p:nvGrpSpPr>
          <p:grpSpPr>
            <a:xfrm>
              <a:off x="8122790" y="2428773"/>
              <a:ext cx="443425" cy="443425"/>
              <a:chOff x="8129180" y="2428773"/>
              <a:chExt cx="443425" cy="443425"/>
            </a:xfrm>
          </p:grpSpPr>
          <p:sp>
            <p:nvSpPr>
              <p:cNvPr id="156" name="Freeform 155"/>
              <p:cNvSpPr>
                <a:spLocks noChangeAspect="1"/>
              </p:cNvSpPr>
              <p:nvPr/>
            </p:nvSpPr>
            <p:spPr bwMode="auto">
              <a:xfrm>
                <a:off x="8207619" y="2513325"/>
                <a:ext cx="286547" cy="274320"/>
              </a:xfrm>
              <a:custGeom>
                <a:avLst/>
                <a:gdLst>
                  <a:gd name="T0" fmla="*/ 2566 w 3726"/>
                  <a:gd name="T1" fmla="*/ 30 h 3567"/>
                  <a:gd name="T2" fmla="*/ 2737 w 3726"/>
                  <a:gd name="T3" fmla="*/ 147 h 3567"/>
                  <a:gd name="T4" fmla="*/ 2834 w 3726"/>
                  <a:gd name="T5" fmla="*/ 331 h 3567"/>
                  <a:gd name="T6" fmla="*/ 2834 w 3726"/>
                  <a:gd name="T7" fmla="*/ 547 h 3567"/>
                  <a:gd name="T8" fmla="*/ 2737 w 3726"/>
                  <a:gd name="T9" fmla="*/ 731 h 3567"/>
                  <a:gd name="T10" fmla="*/ 2566 w 3726"/>
                  <a:gd name="T11" fmla="*/ 849 h 3567"/>
                  <a:gd name="T12" fmla="*/ 2372 w 3726"/>
                  <a:gd name="T13" fmla="*/ 877 h 3567"/>
                  <a:gd name="T14" fmla="*/ 2230 w 3726"/>
                  <a:gd name="T15" fmla="*/ 1399 h 3567"/>
                  <a:gd name="T16" fmla="*/ 2345 w 3726"/>
                  <a:gd name="T17" fmla="*/ 1598 h 3567"/>
                  <a:gd name="T18" fmla="*/ 2370 w 3726"/>
                  <a:gd name="T19" fmla="*/ 1835 h 3567"/>
                  <a:gd name="T20" fmla="*/ 2299 w 3726"/>
                  <a:gd name="T21" fmla="*/ 2054 h 3567"/>
                  <a:gd name="T22" fmla="*/ 2797 w 3726"/>
                  <a:gd name="T23" fmla="*/ 2263 h 3567"/>
                  <a:gd name="T24" fmla="*/ 3050 w 3726"/>
                  <a:gd name="T25" fmla="*/ 2215 h 3567"/>
                  <a:gd name="T26" fmla="*/ 3313 w 3726"/>
                  <a:gd name="T27" fmla="*/ 2268 h 3567"/>
                  <a:gd name="T28" fmla="*/ 3528 w 3726"/>
                  <a:gd name="T29" fmla="*/ 2412 h 3567"/>
                  <a:gd name="T30" fmla="*/ 3673 w 3726"/>
                  <a:gd name="T31" fmla="*/ 2627 h 3567"/>
                  <a:gd name="T32" fmla="*/ 3726 w 3726"/>
                  <a:gd name="T33" fmla="*/ 2890 h 3567"/>
                  <a:gd name="T34" fmla="*/ 3673 w 3726"/>
                  <a:gd name="T35" fmla="*/ 3153 h 3567"/>
                  <a:gd name="T36" fmla="*/ 3528 w 3726"/>
                  <a:gd name="T37" fmla="*/ 3369 h 3567"/>
                  <a:gd name="T38" fmla="*/ 3313 w 3726"/>
                  <a:gd name="T39" fmla="*/ 3514 h 3567"/>
                  <a:gd name="T40" fmla="*/ 3050 w 3726"/>
                  <a:gd name="T41" fmla="*/ 3567 h 3567"/>
                  <a:gd name="T42" fmla="*/ 2787 w 3726"/>
                  <a:gd name="T43" fmla="*/ 3514 h 3567"/>
                  <a:gd name="T44" fmla="*/ 2571 w 3726"/>
                  <a:gd name="T45" fmla="*/ 3369 h 3567"/>
                  <a:gd name="T46" fmla="*/ 2426 w 3726"/>
                  <a:gd name="T47" fmla="*/ 3153 h 3567"/>
                  <a:gd name="T48" fmla="*/ 2373 w 3726"/>
                  <a:gd name="T49" fmla="*/ 2890 h 3567"/>
                  <a:gd name="T50" fmla="*/ 2419 w 3726"/>
                  <a:gd name="T51" fmla="*/ 2644 h 3567"/>
                  <a:gd name="T52" fmla="*/ 2089 w 3726"/>
                  <a:gd name="T53" fmla="*/ 2263 h 3567"/>
                  <a:gd name="T54" fmla="*/ 1870 w 3726"/>
                  <a:gd name="T55" fmla="*/ 2334 h 3567"/>
                  <a:gd name="T56" fmla="*/ 1635 w 3726"/>
                  <a:gd name="T57" fmla="*/ 2310 h 3567"/>
                  <a:gd name="T58" fmla="*/ 1439 w 3726"/>
                  <a:gd name="T59" fmla="*/ 2197 h 3567"/>
                  <a:gd name="T60" fmla="*/ 1303 w 3726"/>
                  <a:gd name="T61" fmla="*/ 2018 h 3567"/>
                  <a:gd name="T62" fmla="*/ 838 w 3726"/>
                  <a:gd name="T63" fmla="*/ 2258 h 3567"/>
                  <a:gd name="T64" fmla="*/ 719 w 3726"/>
                  <a:gd name="T65" fmla="*/ 2412 h 3567"/>
                  <a:gd name="T66" fmla="*/ 542 w 3726"/>
                  <a:gd name="T67" fmla="*/ 2500 h 3567"/>
                  <a:gd name="T68" fmla="*/ 331 w 3726"/>
                  <a:gd name="T69" fmla="*/ 2499 h 3567"/>
                  <a:gd name="T70" fmla="*/ 148 w 3726"/>
                  <a:gd name="T71" fmla="*/ 2402 h 3567"/>
                  <a:gd name="T72" fmla="*/ 29 w 3726"/>
                  <a:gd name="T73" fmla="*/ 2233 h 3567"/>
                  <a:gd name="T74" fmla="*/ 3 w 3726"/>
                  <a:gd name="T75" fmla="*/ 2018 h 3567"/>
                  <a:gd name="T76" fmla="*/ 79 w 3726"/>
                  <a:gd name="T77" fmla="*/ 1823 h 3567"/>
                  <a:gd name="T78" fmla="*/ 233 w 3726"/>
                  <a:gd name="T79" fmla="*/ 1686 h 3567"/>
                  <a:gd name="T80" fmla="*/ 440 w 3726"/>
                  <a:gd name="T81" fmla="*/ 1634 h 3567"/>
                  <a:gd name="T82" fmla="*/ 650 w 3726"/>
                  <a:gd name="T83" fmla="*/ 1687 h 3567"/>
                  <a:gd name="T84" fmla="*/ 805 w 3726"/>
                  <a:gd name="T85" fmla="*/ 1829 h 3567"/>
                  <a:gd name="T86" fmla="*/ 1251 w 3726"/>
                  <a:gd name="T87" fmla="*/ 1713 h 3567"/>
                  <a:gd name="T88" fmla="*/ 1324 w 3726"/>
                  <a:gd name="T89" fmla="*/ 1490 h 3567"/>
                  <a:gd name="T90" fmla="*/ 1478 w 3726"/>
                  <a:gd name="T91" fmla="*/ 1321 h 3567"/>
                  <a:gd name="T92" fmla="*/ 1689 w 3726"/>
                  <a:gd name="T93" fmla="*/ 1225 h 3567"/>
                  <a:gd name="T94" fmla="*/ 1926 w 3726"/>
                  <a:gd name="T95" fmla="*/ 1224 h 3567"/>
                  <a:gd name="T96" fmla="*/ 2022 w 3726"/>
                  <a:gd name="T97" fmla="*/ 648 h 3567"/>
                  <a:gd name="T98" fmla="*/ 1969 w 3726"/>
                  <a:gd name="T99" fmla="*/ 440 h 3567"/>
                  <a:gd name="T100" fmla="*/ 2021 w 3726"/>
                  <a:gd name="T101" fmla="*/ 233 h 3567"/>
                  <a:gd name="T102" fmla="*/ 2157 w 3726"/>
                  <a:gd name="T103" fmla="*/ 78 h 3567"/>
                  <a:gd name="T104" fmla="*/ 2353 w 3726"/>
                  <a:gd name="T105" fmla="*/ 4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26" h="3567">
                    <a:moveTo>
                      <a:pt x="2408" y="0"/>
                    </a:moveTo>
                    <a:lnTo>
                      <a:pt x="2463" y="4"/>
                    </a:lnTo>
                    <a:lnTo>
                      <a:pt x="2517" y="14"/>
                    </a:lnTo>
                    <a:lnTo>
                      <a:pt x="2566" y="30"/>
                    </a:lnTo>
                    <a:lnTo>
                      <a:pt x="2615" y="51"/>
                    </a:lnTo>
                    <a:lnTo>
                      <a:pt x="2659" y="78"/>
                    </a:lnTo>
                    <a:lnTo>
                      <a:pt x="2700" y="111"/>
                    </a:lnTo>
                    <a:lnTo>
                      <a:pt x="2737" y="147"/>
                    </a:lnTo>
                    <a:lnTo>
                      <a:pt x="2769" y="188"/>
                    </a:lnTo>
                    <a:lnTo>
                      <a:pt x="2796" y="233"/>
                    </a:lnTo>
                    <a:lnTo>
                      <a:pt x="2818" y="280"/>
                    </a:lnTo>
                    <a:lnTo>
                      <a:pt x="2834" y="331"/>
                    </a:lnTo>
                    <a:lnTo>
                      <a:pt x="2844" y="384"/>
                    </a:lnTo>
                    <a:lnTo>
                      <a:pt x="2848" y="440"/>
                    </a:lnTo>
                    <a:lnTo>
                      <a:pt x="2844" y="494"/>
                    </a:lnTo>
                    <a:lnTo>
                      <a:pt x="2834" y="547"/>
                    </a:lnTo>
                    <a:lnTo>
                      <a:pt x="2818" y="598"/>
                    </a:lnTo>
                    <a:lnTo>
                      <a:pt x="2796" y="645"/>
                    </a:lnTo>
                    <a:lnTo>
                      <a:pt x="2769" y="690"/>
                    </a:lnTo>
                    <a:lnTo>
                      <a:pt x="2737" y="731"/>
                    </a:lnTo>
                    <a:lnTo>
                      <a:pt x="2700" y="767"/>
                    </a:lnTo>
                    <a:lnTo>
                      <a:pt x="2659" y="800"/>
                    </a:lnTo>
                    <a:lnTo>
                      <a:pt x="2615" y="827"/>
                    </a:lnTo>
                    <a:lnTo>
                      <a:pt x="2566" y="849"/>
                    </a:lnTo>
                    <a:lnTo>
                      <a:pt x="2517" y="866"/>
                    </a:lnTo>
                    <a:lnTo>
                      <a:pt x="2463" y="875"/>
                    </a:lnTo>
                    <a:lnTo>
                      <a:pt x="2408" y="878"/>
                    </a:lnTo>
                    <a:lnTo>
                      <a:pt x="2372" y="877"/>
                    </a:lnTo>
                    <a:lnTo>
                      <a:pt x="2337" y="872"/>
                    </a:lnTo>
                    <a:lnTo>
                      <a:pt x="2145" y="1322"/>
                    </a:lnTo>
                    <a:lnTo>
                      <a:pt x="2189" y="1359"/>
                    </a:lnTo>
                    <a:lnTo>
                      <a:pt x="2230" y="1399"/>
                    </a:lnTo>
                    <a:lnTo>
                      <a:pt x="2266" y="1444"/>
                    </a:lnTo>
                    <a:lnTo>
                      <a:pt x="2296" y="1493"/>
                    </a:lnTo>
                    <a:lnTo>
                      <a:pt x="2323" y="1543"/>
                    </a:lnTo>
                    <a:lnTo>
                      <a:pt x="2345" y="1598"/>
                    </a:lnTo>
                    <a:lnTo>
                      <a:pt x="2360" y="1654"/>
                    </a:lnTo>
                    <a:lnTo>
                      <a:pt x="2370" y="1714"/>
                    </a:lnTo>
                    <a:lnTo>
                      <a:pt x="2373" y="1775"/>
                    </a:lnTo>
                    <a:lnTo>
                      <a:pt x="2370" y="1835"/>
                    </a:lnTo>
                    <a:lnTo>
                      <a:pt x="2361" y="1894"/>
                    </a:lnTo>
                    <a:lnTo>
                      <a:pt x="2345" y="1950"/>
                    </a:lnTo>
                    <a:lnTo>
                      <a:pt x="2324" y="2003"/>
                    </a:lnTo>
                    <a:lnTo>
                      <a:pt x="2299" y="2054"/>
                    </a:lnTo>
                    <a:lnTo>
                      <a:pt x="2634" y="2357"/>
                    </a:lnTo>
                    <a:lnTo>
                      <a:pt x="2685" y="2321"/>
                    </a:lnTo>
                    <a:lnTo>
                      <a:pt x="2739" y="2289"/>
                    </a:lnTo>
                    <a:lnTo>
                      <a:pt x="2797" y="2263"/>
                    </a:lnTo>
                    <a:lnTo>
                      <a:pt x="2857" y="2242"/>
                    </a:lnTo>
                    <a:lnTo>
                      <a:pt x="2919" y="2227"/>
                    </a:lnTo>
                    <a:lnTo>
                      <a:pt x="2983" y="2217"/>
                    </a:lnTo>
                    <a:lnTo>
                      <a:pt x="3050" y="2215"/>
                    </a:lnTo>
                    <a:lnTo>
                      <a:pt x="3119" y="2218"/>
                    </a:lnTo>
                    <a:lnTo>
                      <a:pt x="3186" y="2228"/>
                    </a:lnTo>
                    <a:lnTo>
                      <a:pt x="3251" y="2244"/>
                    </a:lnTo>
                    <a:lnTo>
                      <a:pt x="3313" y="2268"/>
                    </a:lnTo>
                    <a:lnTo>
                      <a:pt x="3372" y="2296"/>
                    </a:lnTo>
                    <a:lnTo>
                      <a:pt x="3427" y="2330"/>
                    </a:lnTo>
                    <a:lnTo>
                      <a:pt x="3481" y="2368"/>
                    </a:lnTo>
                    <a:lnTo>
                      <a:pt x="3528" y="2412"/>
                    </a:lnTo>
                    <a:lnTo>
                      <a:pt x="3572" y="2460"/>
                    </a:lnTo>
                    <a:lnTo>
                      <a:pt x="3610" y="2513"/>
                    </a:lnTo>
                    <a:lnTo>
                      <a:pt x="3644" y="2568"/>
                    </a:lnTo>
                    <a:lnTo>
                      <a:pt x="3673" y="2627"/>
                    </a:lnTo>
                    <a:lnTo>
                      <a:pt x="3696" y="2689"/>
                    </a:lnTo>
                    <a:lnTo>
                      <a:pt x="3712" y="2755"/>
                    </a:lnTo>
                    <a:lnTo>
                      <a:pt x="3722" y="2821"/>
                    </a:lnTo>
                    <a:lnTo>
                      <a:pt x="3726" y="2890"/>
                    </a:lnTo>
                    <a:lnTo>
                      <a:pt x="3722" y="2960"/>
                    </a:lnTo>
                    <a:lnTo>
                      <a:pt x="3712" y="3027"/>
                    </a:lnTo>
                    <a:lnTo>
                      <a:pt x="3696" y="3091"/>
                    </a:lnTo>
                    <a:lnTo>
                      <a:pt x="3673" y="3153"/>
                    </a:lnTo>
                    <a:lnTo>
                      <a:pt x="3644" y="3213"/>
                    </a:lnTo>
                    <a:lnTo>
                      <a:pt x="3610" y="3269"/>
                    </a:lnTo>
                    <a:lnTo>
                      <a:pt x="3572" y="3321"/>
                    </a:lnTo>
                    <a:lnTo>
                      <a:pt x="3528" y="3369"/>
                    </a:lnTo>
                    <a:lnTo>
                      <a:pt x="3481" y="3412"/>
                    </a:lnTo>
                    <a:lnTo>
                      <a:pt x="3427" y="3452"/>
                    </a:lnTo>
                    <a:lnTo>
                      <a:pt x="3372" y="3486"/>
                    </a:lnTo>
                    <a:lnTo>
                      <a:pt x="3313" y="3514"/>
                    </a:lnTo>
                    <a:lnTo>
                      <a:pt x="3251" y="3536"/>
                    </a:lnTo>
                    <a:lnTo>
                      <a:pt x="3186" y="3553"/>
                    </a:lnTo>
                    <a:lnTo>
                      <a:pt x="3119" y="3564"/>
                    </a:lnTo>
                    <a:lnTo>
                      <a:pt x="3050" y="3567"/>
                    </a:lnTo>
                    <a:lnTo>
                      <a:pt x="2980" y="3564"/>
                    </a:lnTo>
                    <a:lnTo>
                      <a:pt x="2913" y="3553"/>
                    </a:lnTo>
                    <a:lnTo>
                      <a:pt x="2849" y="3536"/>
                    </a:lnTo>
                    <a:lnTo>
                      <a:pt x="2787" y="3514"/>
                    </a:lnTo>
                    <a:lnTo>
                      <a:pt x="2727" y="3486"/>
                    </a:lnTo>
                    <a:lnTo>
                      <a:pt x="2671" y="3452"/>
                    </a:lnTo>
                    <a:lnTo>
                      <a:pt x="2619" y="3412"/>
                    </a:lnTo>
                    <a:lnTo>
                      <a:pt x="2571" y="3369"/>
                    </a:lnTo>
                    <a:lnTo>
                      <a:pt x="2528" y="3321"/>
                    </a:lnTo>
                    <a:lnTo>
                      <a:pt x="2488" y="3269"/>
                    </a:lnTo>
                    <a:lnTo>
                      <a:pt x="2454" y="3213"/>
                    </a:lnTo>
                    <a:lnTo>
                      <a:pt x="2426" y="3153"/>
                    </a:lnTo>
                    <a:lnTo>
                      <a:pt x="2404" y="3091"/>
                    </a:lnTo>
                    <a:lnTo>
                      <a:pt x="2387" y="3027"/>
                    </a:lnTo>
                    <a:lnTo>
                      <a:pt x="2376" y="2960"/>
                    </a:lnTo>
                    <a:lnTo>
                      <a:pt x="2373" y="2890"/>
                    </a:lnTo>
                    <a:lnTo>
                      <a:pt x="2375" y="2826"/>
                    </a:lnTo>
                    <a:lnTo>
                      <a:pt x="2384" y="2764"/>
                    </a:lnTo>
                    <a:lnTo>
                      <a:pt x="2399" y="2703"/>
                    </a:lnTo>
                    <a:lnTo>
                      <a:pt x="2419" y="2644"/>
                    </a:lnTo>
                    <a:lnTo>
                      <a:pt x="2444" y="2589"/>
                    </a:lnTo>
                    <a:lnTo>
                      <a:pt x="2474" y="2535"/>
                    </a:lnTo>
                    <a:lnTo>
                      <a:pt x="2137" y="2233"/>
                    </a:lnTo>
                    <a:lnTo>
                      <a:pt x="2089" y="2263"/>
                    </a:lnTo>
                    <a:lnTo>
                      <a:pt x="2039" y="2289"/>
                    </a:lnTo>
                    <a:lnTo>
                      <a:pt x="1984" y="2310"/>
                    </a:lnTo>
                    <a:lnTo>
                      <a:pt x="1929" y="2324"/>
                    </a:lnTo>
                    <a:lnTo>
                      <a:pt x="1870" y="2334"/>
                    </a:lnTo>
                    <a:lnTo>
                      <a:pt x="1810" y="2337"/>
                    </a:lnTo>
                    <a:lnTo>
                      <a:pt x="1750" y="2334"/>
                    </a:lnTo>
                    <a:lnTo>
                      <a:pt x="1692" y="2324"/>
                    </a:lnTo>
                    <a:lnTo>
                      <a:pt x="1635" y="2310"/>
                    </a:lnTo>
                    <a:lnTo>
                      <a:pt x="1582" y="2289"/>
                    </a:lnTo>
                    <a:lnTo>
                      <a:pt x="1531" y="2263"/>
                    </a:lnTo>
                    <a:lnTo>
                      <a:pt x="1484" y="2233"/>
                    </a:lnTo>
                    <a:lnTo>
                      <a:pt x="1439" y="2197"/>
                    </a:lnTo>
                    <a:lnTo>
                      <a:pt x="1399" y="2158"/>
                    </a:lnTo>
                    <a:lnTo>
                      <a:pt x="1362" y="2114"/>
                    </a:lnTo>
                    <a:lnTo>
                      <a:pt x="1330" y="2068"/>
                    </a:lnTo>
                    <a:lnTo>
                      <a:pt x="1303" y="2018"/>
                    </a:lnTo>
                    <a:lnTo>
                      <a:pt x="877" y="2111"/>
                    </a:lnTo>
                    <a:lnTo>
                      <a:pt x="870" y="2161"/>
                    </a:lnTo>
                    <a:lnTo>
                      <a:pt x="857" y="2210"/>
                    </a:lnTo>
                    <a:lnTo>
                      <a:pt x="838" y="2258"/>
                    </a:lnTo>
                    <a:lnTo>
                      <a:pt x="816" y="2300"/>
                    </a:lnTo>
                    <a:lnTo>
                      <a:pt x="788" y="2341"/>
                    </a:lnTo>
                    <a:lnTo>
                      <a:pt x="755" y="2378"/>
                    </a:lnTo>
                    <a:lnTo>
                      <a:pt x="719" y="2412"/>
                    </a:lnTo>
                    <a:lnTo>
                      <a:pt x="679" y="2442"/>
                    </a:lnTo>
                    <a:lnTo>
                      <a:pt x="636" y="2467"/>
                    </a:lnTo>
                    <a:lnTo>
                      <a:pt x="591" y="2486"/>
                    </a:lnTo>
                    <a:lnTo>
                      <a:pt x="542" y="2500"/>
                    </a:lnTo>
                    <a:lnTo>
                      <a:pt x="492" y="2509"/>
                    </a:lnTo>
                    <a:lnTo>
                      <a:pt x="440" y="2513"/>
                    </a:lnTo>
                    <a:lnTo>
                      <a:pt x="384" y="2509"/>
                    </a:lnTo>
                    <a:lnTo>
                      <a:pt x="331" y="2499"/>
                    </a:lnTo>
                    <a:lnTo>
                      <a:pt x="280" y="2483"/>
                    </a:lnTo>
                    <a:lnTo>
                      <a:pt x="233" y="2461"/>
                    </a:lnTo>
                    <a:lnTo>
                      <a:pt x="189" y="2434"/>
                    </a:lnTo>
                    <a:lnTo>
                      <a:pt x="148" y="2402"/>
                    </a:lnTo>
                    <a:lnTo>
                      <a:pt x="111" y="2365"/>
                    </a:lnTo>
                    <a:lnTo>
                      <a:pt x="79" y="2324"/>
                    </a:lnTo>
                    <a:lnTo>
                      <a:pt x="52" y="2280"/>
                    </a:lnTo>
                    <a:lnTo>
                      <a:pt x="29" y="2233"/>
                    </a:lnTo>
                    <a:lnTo>
                      <a:pt x="14" y="2182"/>
                    </a:lnTo>
                    <a:lnTo>
                      <a:pt x="3" y="2129"/>
                    </a:lnTo>
                    <a:lnTo>
                      <a:pt x="0" y="2073"/>
                    </a:lnTo>
                    <a:lnTo>
                      <a:pt x="3" y="2018"/>
                    </a:lnTo>
                    <a:lnTo>
                      <a:pt x="14" y="1965"/>
                    </a:lnTo>
                    <a:lnTo>
                      <a:pt x="29" y="1915"/>
                    </a:lnTo>
                    <a:lnTo>
                      <a:pt x="52" y="1867"/>
                    </a:lnTo>
                    <a:lnTo>
                      <a:pt x="79" y="1823"/>
                    </a:lnTo>
                    <a:lnTo>
                      <a:pt x="111" y="1782"/>
                    </a:lnTo>
                    <a:lnTo>
                      <a:pt x="148" y="1745"/>
                    </a:lnTo>
                    <a:lnTo>
                      <a:pt x="189" y="1713"/>
                    </a:lnTo>
                    <a:lnTo>
                      <a:pt x="233" y="1686"/>
                    </a:lnTo>
                    <a:lnTo>
                      <a:pt x="280" y="1663"/>
                    </a:lnTo>
                    <a:lnTo>
                      <a:pt x="331" y="1647"/>
                    </a:lnTo>
                    <a:lnTo>
                      <a:pt x="384" y="1637"/>
                    </a:lnTo>
                    <a:lnTo>
                      <a:pt x="440" y="1634"/>
                    </a:lnTo>
                    <a:lnTo>
                      <a:pt x="495" y="1637"/>
                    </a:lnTo>
                    <a:lnTo>
                      <a:pt x="549" y="1649"/>
                    </a:lnTo>
                    <a:lnTo>
                      <a:pt x="601" y="1664"/>
                    </a:lnTo>
                    <a:lnTo>
                      <a:pt x="650" y="1687"/>
                    </a:lnTo>
                    <a:lnTo>
                      <a:pt x="694" y="1715"/>
                    </a:lnTo>
                    <a:lnTo>
                      <a:pt x="736" y="1749"/>
                    </a:lnTo>
                    <a:lnTo>
                      <a:pt x="772" y="1786"/>
                    </a:lnTo>
                    <a:lnTo>
                      <a:pt x="805" y="1829"/>
                    </a:lnTo>
                    <a:lnTo>
                      <a:pt x="832" y="1875"/>
                    </a:lnTo>
                    <a:lnTo>
                      <a:pt x="1249" y="1784"/>
                    </a:lnTo>
                    <a:lnTo>
                      <a:pt x="1248" y="1775"/>
                    </a:lnTo>
                    <a:lnTo>
                      <a:pt x="1251" y="1713"/>
                    </a:lnTo>
                    <a:lnTo>
                      <a:pt x="1261" y="1654"/>
                    </a:lnTo>
                    <a:lnTo>
                      <a:pt x="1277" y="1597"/>
                    </a:lnTo>
                    <a:lnTo>
                      <a:pt x="1298" y="1542"/>
                    </a:lnTo>
                    <a:lnTo>
                      <a:pt x="1324" y="1490"/>
                    </a:lnTo>
                    <a:lnTo>
                      <a:pt x="1356" y="1443"/>
                    </a:lnTo>
                    <a:lnTo>
                      <a:pt x="1393" y="1398"/>
                    </a:lnTo>
                    <a:lnTo>
                      <a:pt x="1434" y="1357"/>
                    </a:lnTo>
                    <a:lnTo>
                      <a:pt x="1478" y="1321"/>
                    </a:lnTo>
                    <a:lnTo>
                      <a:pt x="1527" y="1289"/>
                    </a:lnTo>
                    <a:lnTo>
                      <a:pt x="1578" y="1262"/>
                    </a:lnTo>
                    <a:lnTo>
                      <a:pt x="1633" y="1241"/>
                    </a:lnTo>
                    <a:lnTo>
                      <a:pt x="1689" y="1225"/>
                    </a:lnTo>
                    <a:lnTo>
                      <a:pt x="1749" y="1216"/>
                    </a:lnTo>
                    <a:lnTo>
                      <a:pt x="1810" y="1212"/>
                    </a:lnTo>
                    <a:lnTo>
                      <a:pt x="1869" y="1216"/>
                    </a:lnTo>
                    <a:lnTo>
                      <a:pt x="1926" y="1224"/>
                    </a:lnTo>
                    <a:lnTo>
                      <a:pt x="2120" y="771"/>
                    </a:lnTo>
                    <a:lnTo>
                      <a:pt x="2083" y="733"/>
                    </a:lnTo>
                    <a:lnTo>
                      <a:pt x="2049" y="693"/>
                    </a:lnTo>
                    <a:lnTo>
                      <a:pt x="2022" y="648"/>
                    </a:lnTo>
                    <a:lnTo>
                      <a:pt x="1999" y="600"/>
                    </a:lnTo>
                    <a:lnTo>
                      <a:pt x="1982" y="548"/>
                    </a:lnTo>
                    <a:lnTo>
                      <a:pt x="1972" y="495"/>
                    </a:lnTo>
                    <a:lnTo>
                      <a:pt x="1969" y="440"/>
                    </a:lnTo>
                    <a:lnTo>
                      <a:pt x="1972" y="384"/>
                    </a:lnTo>
                    <a:lnTo>
                      <a:pt x="1982" y="331"/>
                    </a:lnTo>
                    <a:lnTo>
                      <a:pt x="1998" y="280"/>
                    </a:lnTo>
                    <a:lnTo>
                      <a:pt x="2021" y="233"/>
                    </a:lnTo>
                    <a:lnTo>
                      <a:pt x="2048" y="188"/>
                    </a:lnTo>
                    <a:lnTo>
                      <a:pt x="2079" y="147"/>
                    </a:lnTo>
                    <a:lnTo>
                      <a:pt x="2117" y="111"/>
                    </a:lnTo>
                    <a:lnTo>
                      <a:pt x="2157" y="78"/>
                    </a:lnTo>
                    <a:lnTo>
                      <a:pt x="2201" y="51"/>
                    </a:lnTo>
                    <a:lnTo>
                      <a:pt x="2249" y="30"/>
                    </a:lnTo>
                    <a:lnTo>
                      <a:pt x="2300" y="14"/>
                    </a:lnTo>
                    <a:lnTo>
                      <a:pt x="2353" y="4"/>
                    </a:lnTo>
                    <a:lnTo>
                      <a:pt x="24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C8A2E"/>
                  </a:solidFill>
                </a:endParaRPr>
              </a:p>
            </p:txBody>
          </p:sp>
          <p:sp>
            <p:nvSpPr>
              <p:cNvPr id="157" name="Oval 156"/>
              <p:cNvSpPr/>
              <p:nvPr/>
            </p:nvSpPr>
            <p:spPr>
              <a:xfrm rot="15256471">
                <a:off x="8129180" y="2428773"/>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grpSp>
        <p:sp>
          <p:nvSpPr>
            <p:cNvPr id="158" name="Rectangle 157"/>
            <p:cNvSpPr/>
            <p:nvPr/>
          </p:nvSpPr>
          <p:spPr>
            <a:xfrm>
              <a:off x="5224233" y="2446076"/>
              <a:ext cx="2843481" cy="307777"/>
            </a:xfrm>
            <a:prstGeom prst="rect">
              <a:avLst/>
            </a:prstGeom>
          </p:spPr>
          <p:txBody>
            <a:bodyPr wrap="square">
              <a:spAutoFit/>
            </a:bodyPr>
            <a:lstStyle/>
            <a:p>
              <a:pPr algn="r"/>
              <a:r>
                <a:rPr lang="en-US" sz="1400" b="1" dirty="0">
                  <a:solidFill>
                    <a:prstClr val="white"/>
                  </a:solidFill>
                </a:rPr>
                <a:t>Just-In-Time “Flash” Learning</a:t>
              </a:r>
            </a:p>
          </p:txBody>
        </p:sp>
        <p:sp>
          <p:nvSpPr>
            <p:cNvPr id="159" name="Rectangle 158"/>
            <p:cNvSpPr/>
            <p:nvPr/>
          </p:nvSpPr>
          <p:spPr>
            <a:xfrm>
              <a:off x="5425850" y="2753853"/>
              <a:ext cx="2622009" cy="769441"/>
            </a:xfrm>
            <a:prstGeom prst="rect">
              <a:avLst/>
            </a:prstGeom>
          </p:spPr>
          <p:txBody>
            <a:bodyPr wrap="square">
              <a:spAutoFit/>
            </a:bodyPr>
            <a:lstStyle/>
            <a:p>
              <a:pPr algn="r"/>
              <a:r>
                <a:rPr lang="en-US" sz="1100" dirty="0">
                  <a:solidFill>
                    <a:prstClr val="white"/>
                  </a:solidFill>
                </a:rPr>
                <a:t>A platform for delivering quick-hit learning, accessed at the time of need, to drive on-the-job application of critical knowledge and technical updates</a:t>
              </a:r>
            </a:p>
          </p:txBody>
        </p:sp>
        <p:sp>
          <p:nvSpPr>
            <p:cNvPr id="61" name="Rectangle 60"/>
            <p:cNvSpPr/>
            <p:nvPr/>
          </p:nvSpPr>
          <p:spPr>
            <a:xfrm>
              <a:off x="2005381" y="4524011"/>
              <a:ext cx="5133239" cy="307777"/>
            </a:xfrm>
            <a:prstGeom prst="rect">
              <a:avLst/>
            </a:prstGeom>
          </p:spPr>
          <p:txBody>
            <a:bodyPr wrap="square" lIns="0" tIns="0" rIns="0" bIns="0">
              <a:spAutoFit/>
            </a:bodyPr>
            <a:lstStyle/>
            <a:p>
              <a:pPr algn="ctr">
                <a:spcAft>
                  <a:spcPts val="600"/>
                </a:spcAft>
              </a:pPr>
              <a:r>
                <a:rPr lang="en-US" sz="2000" b="1" dirty="0">
                  <a:solidFill>
                    <a:prstClr val="white"/>
                  </a:solidFill>
                  <a:effectLst>
                    <a:outerShdw blurRad="38100" dist="38100" dir="2700000" algn="tl">
                      <a:srgbClr val="000000">
                        <a:alpha val="43137"/>
                      </a:srgbClr>
                    </a:outerShdw>
                  </a:effectLst>
                </a:rPr>
                <a:t>Developing Beyond Core Skills</a:t>
              </a:r>
            </a:p>
          </p:txBody>
        </p:sp>
        <p:grpSp>
          <p:nvGrpSpPr>
            <p:cNvPr id="62" name="Group 61"/>
            <p:cNvGrpSpPr/>
            <p:nvPr/>
          </p:nvGrpSpPr>
          <p:grpSpPr>
            <a:xfrm>
              <a:off x="450843" y="4659975"/>
              <a:ext cx="2053812" cy="1659613"/>
              <a:chOff x="2449985" y="5003788"/>
              <a:chExt cx="2053812" cy="1659613"/>
            </a:xfrm>
          </p:grpSpPr>
          <p:grpSp>
            <p:nvGrpSpPr>
              <p:cNvPr id="63" name="Group 62"/>
              <p:cNvGrpSpPr/>
              <p:nvPr/>
            </p:nvGrpSpPr>
            <p:grpSpPr>
              <a:xfrm>
                <a:off x="3252070" y="5003788"/>
                <a:ext cx="443425" cy="443425"/>
                <a:chOff x="5431169" y="5003788"/>
                <a:chExt cx="443425" cy="443425"/>
              </a:xfrm>
            </p:grpSpPr>
            <p:sp>
              <p:nvSpPr>
                <p:cNvPr id="66" name="Oval 65"/>
                <p:cNvSpPr/>
                <p:nvPr/>
              </p:nvSpPr>
              <p:spPr>
                <a:xfrm rot="15256471">
                  <a:off x="5431169" y="5003788"/>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sp>
              <p:nvSpPr>
                <p:cNvPr id="67" name="Freeform 9"/>
                <p:cNvSpPr>
                  <a:spLocks noChangeAspect="1" noEditPoints="1"/>
                </p:cNvSpPr>
                <p:nvPr/>
              </p:nvSpPr>
              <p:spPr bwMode="auto">
                <a:xfrm>
                  <a:off x="5514502" y="5078114"/>
                  <a:ext cx="312270" cy="294773"/>
                </a:xfrm>
                <a:custGeom>
                  <a:avLst/>
                  <a:gdLst>
                    <a:gd name="T0" fmla="*/ 31 w 102"/>
                    <a:gd name="T1" fmla="*/ 0 h 96"/>
                    <a:gd name="T2" fmla="*/ 27 w 102"/>
                    <a:gd name="T3" fmla="*/ 17 h 96"/>
                    <a:gd name="T4" fmla="*/ 53 w 102"/>
                    <a:gd name="T5" fmla="*/ 21 h 96"/>
                    <a:gd name="T6" fmla="*/ 56 w 102"/>
                    <a:gd name="T7" fmla="*/ 3 h 96"/>
                    <a:gd name="T8" fmla="*/ 47 w 102"/>
                    <a:gd name="T9" fmla="*/ 12 h 96"/>
                    <a:gd name="T10" fmla="*/ 31 w 102"/>
                    <a:gd name="T11" fmla="*/ 7 h 96"/>
                    <a:gd name="T12" fmla="*/ 49 w 102"/>
                    <a:gd name="T13" fmla="*/ 3 h 96"/>
                    <a:gd name="T14" fmla="*/ 47 w 102"/>
                    <a:gd name="T15" fmla="*/ 12 h 96"/>
                    <a:gd name="T16" fmla="*/ 56 w 102"/>
                    <a:gd name="T17" fmla="*/ 32 h 96"/>
                    <a:gd name="T18" fmla="*/ 7 w 102"/>
                    <a:gd name="T19" fmla="*/ 30 h 96"/>
                    <a:gd name="T20" fmla="*/ 8 w 102"/>
                    <a:gd name="T21" fmla="*/ 29 h 96"/>
                    <a:gd name="T22" fmla="*/ 56 w 102"/>
                    <a:gd name="T23" fmla="*/ 30 h 96"/>
                    <a:gd name="T24" fmla="*/ 47 w 102"/>
                    <a:gd name="T25" fmla="*/ 44 h 96"/>
                    <a:gd name="T26" fmla="*/ 7 w 102"/>
                    <a:gd name="T27" fmla="*/ 42 h 96"/>
                    <a:gd name="T28" fmla="*/ 8 w 102"/>
                    <a:gd name="T29" fmla="*/ 41 h 96"/>
                    <a:gd name="T30" fmla="*/ 49 w 102"/>
                    <a:gd name="T31" fmla="*/ 42 h 96"/>
                    <a:gd name="T32" fmla="*/ 40 w 102"/>
                    <a:gd name="T33" fmla="*/ 56 h 96"/>
                    <a:gd name="T34" fmla="*/ 7 w 102"/>
                    <a:gd name="T35" fmla="*/ 54 h 96"/>
                    <a:gd name="T36" fmla="*/ 8 w 102"/>
                    <a:gd name="T37" fmla="*/ 53 h 96"/>
                    <a:gd name="T38" fmla="*/ 41 w 102"/>
                    <a:gd name="T39" fmla="*/ 54 h 96"/>
                    <a:gd name="T40" fmla="*/ 36 w 102"/>
                    <a:gd name="T41" fmla="*/ 84 h 96"/>
                    <a:gd name="T42" fmla="*/ 7 w 102"/>
                    <a:gd name="T43" fmla="*/ 78 h 96"/>
                    <a:gd name="T44" fmla="*/ 14 w 102"/>
                    <a:gd name="T45" fmla="*/ 72 h 96"/>
                    <a:gd name="T46" fmla="*/ 43 w 102"/>
                    <a:gd name="T47" fmla="*/ 78 h 96"/>
                    <a:gd name="T48" fmla="*/ 78 w 102"/>
                    <a:gd name="T49" fmla="*/ 11 h 96"/>
                    <a:gd name="T50" fmla="*/ 59 w 102"/>
                    <a:gd name="T51" fmla="*/ 8 h 96"/>
                    <a:gd name="T52" fmla="*/ 84 w 102"/>
                    <a:gd name="T53" fmla="*/ 13 h 96"/>
                    <a:gd name="T54" fmla="*/ 82 w 102"/>
                    <a:gd name="T55" fmla="*/ 41 h 96"/>
                    <a:gd name="T56" fmla="*/ 80 w 102"/>
                    <a:gd name="T57" fmla="*/ 13 h 96"/>
                    <a:gd name="T58" fmla="*/ 84 w 102"/>
                    <a:gd name="T59" fmla="*/ 86 h 96"/>
                    <a:gd name="T60" fmla="*/ 78 w 102"/>
                    <a:gd name="T61" fmla="*/ 96 h 96"/>
                    <a:gd name="T62" fmla="*/ 0 w 102"/>
                    <a:gd name="T63" fmla="*/ 91 h 96"/>
                    <a:gd name="T64" fmla="*/ 5 w 102"/>
                    <a:gd name="T65" fmla="*/ 8 h 96"/>
                    <a:gd name="T66" fmla="*/ 24 w 102"/>
                    <a:gd name="T67" fmla="*/ 11 h 96"/>
                    <a:gd name="T68" fmla="*/ 4 w 102"/>
                    <a:gd name="T69" fmla="*/ 13 h 96"/>
                    <a:gd name="T70" fmla="*/ 5 w 102"/>
                    <a:gd name="T71" fmla="*/ 92 h 96"/>
                    <a:gd name="T72" fmla="*/ 80 w 102"/>
                    <a:gd name="T73" fmla="*/ 91 h 96"/>
                    <a:gd name="T74" fmla="*/ 82 w 102"/>
                    <a:gd name="T75" fmla="*/ 86 h 96"/>
                    <a:gd name="T76" fmla="*/ 61 w 102"/>
                    <a:gd name="T77" fmla="*/ 64 h 96"/>
                    <a:gd name="T78" fmla="*/ 102 w 102"/>
                    <a:gd name="T79" fmla="*/ 64 h 96"/>
                    <a:gd name="T80" fmla="*/ 96 w 102"/>
                    <a:gd name="T81" fmla="*/ 58 h 96"/>
                    <a:gd name="T82" fmla="*/ 78 w 102"/>
                    <a:gd name="T83" fmla="*/ 75 h 96"/>
                    <a:gd name="T84" fmla="*/ 76 w 102"/>
                    <a:gd name="T85" fmla="*/ 75 h 96"/>
                    <a:gd name="T86" fmla="*/ 68 w 102"/>
                    <a:gd name="T87" fmla="*/ 64 h 96"/>
                    <a:gd name="T88" fmla="*/ 77 w 102"/>
                    <a:gd name="T89" fmla="*/ 71 h 96"/>
                    <a:gd name="T90" fmla="*/ 96 w 102"/>
                    <a:gd name="T91"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96">
                      <a:moveTo>
                        <a:pt x="53" y="0"/>
                      </a:moveTo>
                      <a:cubicBezTo>
                        <a:pt x="31" y="0"/>
                        <a:pt x="31" y="0"/>
                        <a:pt x="31" y="0"/>
                      </a:cubicBezTo>
                      <a:cubicBezTo>
                        <a:pt x="29" y="0"/>
                        <a:pt x="27" y="2"/>
                        <a:pt x="27" y="3"/>
                      </a:cubicBezTo>
                      <a:cubicBezTo>
                        <a:pt x="27" y="17"/>
                        <a:pt x="27" y="17"/>
                        <a:pt x="27" y="17"/>
                      </a:cubicBezTo>
                      <a:cubicBezTo>
                        <a:pt x="27" y="19"/>
                        <a:pt x="29" y="21"/>
                        <a:pt x="31" y="21"/>
                      </a:cubicBezTo>
                      <a:cubicBezTo>
                        <a:pt x="53" y="21"/>
                        <a:pt x="53" y="21"/>
                        <a:pt x="53" y="21"/>
                      </a:cubicBezTo>
                      <a:cubicBezTo>
                        <a:pt x="55" y="21"/>
                        <a:pt x="56" y="19"/>
                        <a:pt x="56" y="17"/>
                      </a:cubicBezTo>
                      <a:cubicBezTo>
                        <a:pt x="56" y="3"/>
                        <a:pt x="56" y="3"/>
                        <a:pt x="56" y="3"/>
                      </a:cubicBezTo>
                      <a:cubicBezTo>
                        <a:pt x="56" y="2"/>
                        <a:pt x="55" y="0"/>
                        <a:pt x="53" y="0"/>
                      </a:cubicBezTo>
                      <a:close/>
                      <a:moveTo>
                        <a:pt x="47" y="12"/>
                      </a:moveTo>
                      <a:cubicBezTo>
                        <a:pt x="37" y="12"/>
                        <a:pt x="37" y="12"/>
                        <a:pt x="37" y="12"/>
                      </a:cubicBezTo>
                      <a:cubicBezTo>
                        <a:pt x="36" y="12"/>
                        <a:pt x="31" y="9"/>
                        <a:pt x="31" y="7"/>
                      </a:cubicBezTo>
                      <a:cubicBezTo>
                        <a:pt x="31" y="5"/>
                        <a:pt x="33" y="3"/>
                        <a:pt x="35" y="3"/>
                      </a:cubicBezTo>
                      <a:cubicBezTo>
                        <a:pt x="49" y="3"/>
                        <a:pt x="49" y="3"/>
                        <a:pt x="49" y="3"/>
                      </a:cubicBezTo>
                      <a:cubicBezTo>
                        <a:pt x="50" y="3"/>
                        <a:pt x="52" y="5"/>
                        <a:pt x="52" y="7"/>
                      </a:cubicBezTo>
                      <a:cubicBezTo>
                        <a:pt x="52" y="9"/>
                        <a:pt x="48" y="12"/>
                        <a:pt x="47" y="12"/>
                      </a:cubicBezTo>
                      <a:close/>
                      <a:moveTo>
                        <a:pt x="56" y="30"/>
                      </a:moveTo>
                      <a:cubicBezTo>
                        <a:pt x="56" y="31"/>
                        <a:pt x="56" y="32"/>
                        <a:pt x="56" y="32"/>
                      </a:cubicBezTo>
                      <a:cubicBezTo>
                        <a:pt x="8" y="32"/>
                        <a:pt x="8" y="32"/>
                        <a:pt x="8" y="32"/>
                      </a:cubicBezTo>
                      <a:cubicBezTo>
                        <a:pt x="8" y="32"/>
                        <a:pt x="7" y="31"/>
                        <a:pt x="7" y="30"/>
                      </a:cubicBezTo>
                      <a:cubicBezTo>
                        <a:pt x="7" y="30"/>
                        <a:pt x="7" y="30"/>
                        <a:pt x="7" y="30"/>
                      </a:cubicBezTo>
                      <a:cubicBezTo>
                        <a:pt x="7" y="29"/>
                        <a:pt x="8" y="29"/>
                        <a:pt x="8" y="29"/>
                      </a:cubicBezTo>
                      <a:cubicBezTo>
                        <a:pt x="56" y="29"/>
                        <a:pt x="56" y="29"/>
                        <a:pt x="56" y="29"/>
                      </a:cubicBezTo>
                      <a:cubicBezTo>
                        <a:pt x="56" y="29"/>
                        <a:pt x="56" y="29"/>
                        <a:pt x="56" y="30"/>
                      </a:cubicBezTo>
                      <a:close/>
                      <a:moveTo>
                        <a:pt x="49" y="42"/>
                      </a:moveTo>
                      <a:cubicBezTo>
                        <a:pt x="49" y="43"/>
                        <a:pt x="48" y="44"/>
                        <a:pt x="47" y="44"/>
                      </a:cubicBezTo>
                      <a:cubicBezTo>
                        <a:pt x="8" y="44"/>
                        <a:pt x="8" y="44"/>
                        <a:pt x="8" y="44"/>
                      </a:cubicBezTo>
                      <a:cubicBezTo>
                        <a:pt x="8" y="44"/>
                        <a:pt x="7" y="43"/>
                        <a:pt x="7" y="42"/>
                      </a:cubicBezTo>
                      <a:cubicBezTo>
                        <a:pt x="7" y="42"/>
                        <a:pt x="7" y="42"/>
                        <a:pt x="7" y="42"/>
                      </a:cubicBezTo>
                      <a:cubicBezTo>
                        <a:pt x="7" y="41"/>
                        <a:pt x="8" y="41"/>
                        <a:pt x="8" y="41"/>
                      </a:cubicBezTo>
                      <a:cubicBezTo>
                        <a:pt x="47" y="41"/>
                        <a:pt x="47" y="41"/>
                        <a:pt x="47" y="41"/>
                      </a:cubicBezTo>
                      <a:cubicBezTo>
                        <a:pt x="48" y="41"/>
                        <a:pt x="49" y="41"/>
                        <a:pt x="49" y="42"/>
                      </a:cubicBezTo>
                      <a:close/>
                      <a:moveTo>
                        <a:pt x="41" y="54"/>
                      </a:moveTo>
                      <a:cubicBezTo>
                        <a:pt x="41" y="55"/>
                        <a:pt x="40" y="56"/>
                        <a:pt x="40" y="56"/>
                      </a:cubicBezTo>
                      <a:cubicBezTo>
                        <a:pt x="8" y="56"/>
                        <a:pt x="8" y="56"/>
                        <a:pt x="8" y="56"/>
                      </a:cubicBezTo>
                      <a:cubicBezTo>
                        <a:pt x="7" y="56"/>
                        <a:pt x="7" y="55"/>
                        <a:pt x="7" y="54"/>
                      </a:cubicBezTo>
                      <a:cubicBezTo>
                        <a:pt x="7" y="54"/>
                        <a:pt x="7" y="54"/>
                        <a:pt x="7" y="54"/>
                      </a:cubicBezTo>
                      <a:cubicBezTo>
                        <a:pt x="7" y="53"/>
                        <a:pt x="7" y="53"/>
                        <a:pt x="8" y="53"/>
                      </a:cubicBezTo>
                      <a:cubicBezTo>
                        <a:pt x="40" y="53"/>
                        <a:pt x="40" y="53"/>
                        <a:pt x="40" y="53"/>
                      </a:cubicBezTo>
                      <a:cubicBezTo>
                        <a:pt x="40" y="53"/>
                        <a:pt x="41" y="53"/>
                        <a:pt x="41" y="54"/>
                      </a:cubicBezTo>
                      <a:close/>
                      <a:moveTo>
                        <a:pt x="43" y="78"/>
                      </a:moveTo>
                      <a:cubicBezTo>
                        <a:pt x="43" y="82"/>
                        <a:pt x="39" y="84"/>
                        <a:pt x="36" y="84"/>
                      </a:cubicBezTo>
                      <a:cubicBezTo>
                        <a:pt x="14" y="84"/>
                        <a:pt x="14" y="84"/>
                        <a:pt x="14" y="84"/>
                      </a:cubicBezTo>
                      <a:cubicBezTo>
                        <a:pt x="10" y="84"/>
                        <a:pt x="7" y="82"/>
                        <a:pt x="7" y="78"/>
                      </a:cubicBezTo>
                      <a:cubicBezTo>
                        <a:pt x="7" y="78"/>
                        <a:pt x="7" y="78"/>
                        <a:pt x="7" y="78"/>
                      </a:cubicBezTo>
                      <a:cubicBezTo>
                        <a:pt x="7" y="75"/>
                        <a:pt x="10" y="72"/>
                        <a:pt x="14" y="72"/>
                      </a:cubicBezTo>
                      <a:cubicBezTo>
                        <a:pt x="36" y="72"/>
                        <a:pt x="36" y="72"/>
                        <a:pt x="36" y="72"/>
                      </a:cubicBezTo>
                      <a:cubicBezTo>
                        <a:pt x="39" y="72"/>
                        <a:pt x="43" y="75"/>
                        <a:pt x="43" y="78"/>
                      </a:cubicBezTo>
                      <a:close/>
                      <a:moveTo>
                        <a:pt x="80" y="13"/>
                      </a:moveTo>
                      <a:cubicBezTo>
                        <a:pt x="80" y="12"/>
                        <a:pt x="79" y="11"/>
                        <a:pt x="78" y="11"/>
                      </a:cubicBezTo>
                      <a:cubicBezTo>
                        <a:pt x="78" y="11"/>
                        <a:pt x="78" y="11"/>
                        <a:pt x="59" y="11"/>
                      </a:cubicBezTo>
                      <a:cubicBezTo>
                        <a:pt x="59" y="11"/>
                        <a:pt x="59" y="11"/>
                        <a:pt x="59" y="8"/>
                      </a:cubicBezTo>
                      <a:cubicBezTo>
                        <a:pt x="59" y="8"/>
                        <a:pt x="59" y="8"/>
                        <a:pt x="78" y="8"/>
                      </a:cubicBezTo>
                      <a:cubicBezTo>
                        <a:pt x="82" y="8"/>
                        <a:pt x="84" y="10"/>
                        <a:pt x="84" y="13"/>
                      </a:cubicBezTo>
                      <a:cubicBezTo>
                        <a:pt x="84" y="13"/>
                        <a:pt x="84" y="13"/>
                        <a:pt x="84" y="41"/>
                      </a:cubicBezTo>
                      <a:cubicBezTo>
                        <a:pt x="83" y="41"/>
                        <a:pt x="83" y="41"/>
                        <a:pt x="82" y="41"/>
                      </a:cubicBezTo>
                      <a:cubicBezTo>
                        <a:pt x="81" y="41"/>
                        <a:pt x="81" y="41"/>
                        <a:pt x="80" y="41"/>
                      </a:cubicBezTo>
                      <a:cubicBezTo>
                        <a:pt x="80" y="41"/>
                        <a:pt x="80" y="41"/>
                        <a:pt x="80" y="13"/>
                      </a:cubicBezTo>
                      <a:close/>
                      <a:moveTo>
                        <a:pt x="82" y="86"/>
                      </a:moveTo>
                      <a:cubicBezTo>
                        <a:pt x="83" y="86"/>
                        <a:pt x="83" y="86"/>
                        <a:pt x="84" y="86"/>
                      </a:cubicBezTo>
                      <a:cubicBezTo>
                        <a:pt x="84" y="86"/>
                        <a:pt x="84" y="86"/>
                        <a:pt x="84" y="91"/>
                      </a:cubicBezTo>
                      <a:cubicBezTo>
                        <a:pt x="84" y="93"/>
                        <a:pt x="82" y="96"/>
                        <a:pt x="78" y="96"/>
                      </a:cubicBezTo>
                      <a:cubicBezTo>
                        <a:pt x="78" y="96"/>
                        <a:pt x="78" y="96"/>
                        <a:pt x="5" y="96"/>
                      </a:cubicBezTo>
                      <a:cubicBezTo>
                        <a:pt x="2" y="96"/>
                        <a:pt x="0" y="93"/>
                        <a:pt x="0" y="91"/>
                      </a:cubicBezTo>
                      <a:cubicBezTo>
                        <a:pt x="0" y="91"/>
                        <a:pt x="0" y="91"/>
                        <a:pt x="0" y="13"/>
                      </a:cubicBezTo>
                      <a:cubicBezTo>
                        <a:pt x="0" y="10"/>
                        <a:pt x="2" y="8"/>
                        <a:pt x="5" y="8"/>
                      </a:cubicBezTo>
                      <a:cubicBezTo>
                        <a:pt x="5" y="8"/>
                        <a:pt x="5" y="8"/>
                        <a:pt x="24" y="8"/>
                      </a:cubicBezTo>
                      <a:cubicBezTo>
                        <a:pt x="24" y="8"/>
                        <a:pt x="24" y="8"/>
                        <a:pt x="24" y="11"/>
                      </a:cubicBezTo>
                      <a:cubicBezTo>
                        <a:pt x="24" y="11"/>
                        <a:pt x="24" y="11"/>
                        <a:pt x="5" y="11"/>
                      </a:cubicBezTo>
                      <a:cubicBezTo>
                        <a:pt x="5" y="11"/>
                        <a:pt x="4" y="12"/>
                        <a:pt x="4" y="13"/>
                      </a:cubicBezTo>
                      <a:cubicBezTo>
                        <a:pt x="4" y="13"/>
                        <a:pt x="4" y="13"/>
                        <a:pt x="4" y="91"/>
                      </a:cubicBezTo>
                      <a:cubicBezTo>
                        <a:pt x="4" y="92"/>
                        <a:pt x="5" y="92"/>
                        <a:pt x="5" y="92"/>
                      </a:cubicBezTo>
                      <a:cubicBezTo>
                        <a:pt x="5" y="92"/>
                        <a:pt x="5" y="92"/>
                        <a:pt x="78" y="92"/>
                      </a:cubicBezTo>
                      <a:cubicBezTo>
                        <a:pt x="79" y="92"/>
                        <a:pt x="80" y="92"/>
                        <a:pt x="80" y="91"/>
                      </a:cubicBezTo>
                      <a:cubicBezTo>
                        <a:pt x="80" y="91"/>
                        <a:pt x="80" y="91"/>
                        <a:pt x="80" y="86"/>
                      </a:cubicBezTo>
                      <a:cubicBezTo>
                        <a:pt x="81" y="86"/>
                        <a:pt x="81" y="86"/>
                        <a:pt x="82" y="86"/>
                      </a:cubicBezTo>
                      <a:close/>
                      <a:moveTo>
                        <a:pt x="82" y="43"/>
                      </a:moveTo>
                      <a:cubicBezTo>
                        <a:pt x="70" y="43"/>
                        <a:pt x="61" y="52"/>
                        <a:pt x="61" y="64"/>
                      </a:cubicBezTo>
                      <a:cubicBezTo>
                        <a:pt x="61" y="75"/>
                        <a:pt x="70" y="84"/>
                        <a:pt x="82" y="84"/>
                      </a:cubicBezTo>
                      <a:cubicBezTo>
                        <a:pt x="93" y="84"/>
                        <a:pt x="102" y="75"/>
                        <a:pt x="102" y="64"/>
                      </a:cubicBezTo>
                      <a:cubicBezTo>
                        <a:pt x="102" y="52"/>
                        <a:pt x="93" y="43"/>
                        <a:pt x="82" y="43"/>
                      </a:cubicBezTo>
                      <a:close/>
                      <a:moveTo>
                        <a:pt x="96" y="58"/>
                      </a:moveTo>
                      <a:cubicBezTo>
                        <a:pt x="79" y="75"/>
                        <a:pt x="79" y="75"/>
                        <a:pt x="79" y="75"/>
                      </a:cubicBezTo>
                      <a:cubicBezTo>
                        <a:pt x="78" y="75"/>
                        <a:pt x="78" y="75"/>
                        <a:pt x="78" y="75"/>
                      </a:cubicBezTo>
                      <a:cubicBezTo>
                        <a:pt x="78" y="75"/>
                        <a:pt x="78" y="75"/>
                        <a:pt x="78" y="75"/>
                      </a:cubicBezTo>
                      <a:cubicBezTo>
                        <a:pt x="78" y="76"/>
                        <a:pt x="76" y="76"/>
                        <a:pt x="76" y="75"/>
                      </a:cubicBezTo>
                      <a:cubicBezTo>
                        <a:pt x="68" y="67"/>
                        <a:pt x="68" y="67"/>
                        <a:pt x="68" y="67"/>
                      </a:cubicBezTo>
                      <a:cubicBezTo>
                        <a:pt x="67" y="66"/>
                        <a:pt x="67" y="65"/>
                        <a:pt x="68" y="64"/>
                      </a:cubicBezTo>
                      <a:cubicBezTo>
                        <a:pt x="69" y="64"/>
                        <a:pt x="69" y="64"/>
                        <a:pt x="70" y="64"/>
                      </a:cubicBezTo>
                      <a:cubicBezTo>
                        <a:pt x="77" y="71"/>
                        <a:pt x="77" y="71"/>
                        <a:pt x="77" y="71"/>
                      </a:cubicBezTo>
                      <a:cubicBezTo>
                        <a:pt x="93" y="55"/>
                        <a:pt x="93" y="55"/>
                        <a:pt x="93" y="55"/>
                      </a:cubicBezTo>
                      <a:cubicBezTo>
                        <a:pt x="94" y="54"/>
                        <a:pt x="95" y="54"/>
                        <a:pt x="96" y="55"/>
                      </a:cubicBezTo>
                      <a:cubicBezTo>
                        <a:pt x="96" y="56"/>
                        <a:pt x="96" y="57"/>
                        <a:pt x="96" y="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64" name="Rectangle 63"/>
              <p:cNvSpPr/>
              <p:nvPr/>
            </p:nvSpPr>
            <p:spPr>
              <a:xfrm>
                <a:off x="2546694" y="5424412"/>
                <a:ext cx="1860394" cy="523220"/>
              </a:xfrm>
              <a:prstGeom prst="rect">
                <a:avLst/>
              </a:prstGeom>
            </p:spPr>
            <p:txBody>
              <a:bodyPr wrap="square">
                <a:spAutoFit/>
              </a:bodyPr>
              <a:lstStyle/>
              <a:p>
                <a:pPr algn="ctr"/>
                <a:r>
                  <a:rPr lang="en-US" sz="1400" b="1" dirty="0">
                    <a:solidFill>
                      <a:prstClr val="white"/>
                    </a:solidFill>
                  </a:rPr>
                  <a:t>Capability Assessments</a:t>
                </a:r>
              </a:p>
            </p:txBody>
          </p:sp>
          <p:sp>
            <p:nvSpPr>
              <p:cNvPr id="65" name="Rectangle 64"/>
              <p:cNvSpPr/>
              <p:nvPr/>
            </p:nvSpPr>
            <p:spPr>
              <a:xfrm>
                <a:off x="2449985" y="5893960"/>
                <a:ext cx="2053812" cy="769441"/>
              </a:xfrm>
              <a:prstGeom prst="rect">
                <a:avLst/>
              </a:prstGeom>
            </p:spPr>
            <p:txBody>
              <a:bodyPr wrap="square">
                <a:spAutoFit/>
              </a:bodyPr>
              <a:lstStyle/>
              <a:p>
                <a:pPr algn="ctr"/>
                <a:r>
                  <a:rPr lang="en-US" sz="1100" dirty="0">
                    <a:solidFill>
                      <a:prstClr val="white"/>
                    </a:solidFill>
                  </a:rPr>
                  <a:t>Measurement of current capabilities via self and counselor assessment and/or robust evaluation of skills</a:t>
                </a:r>
              </a:p>
            </p:txBody>
          </p:sp>
        </p:grpSp>
        <p:grpSp>
          <p:nvGrpSpPr>
            <p:cNvPr id="68" name="Group 67"/>
            <p:cNvGrpSpPr/>
            <p:nvPr/>
          </p:nvGrpSpPr>
          <p:grpSpPr>
            <a:xfrm>
              <a:off x="2642623" y="5004134"/>
              <a:ext cx="1860394" cy="1659613"/>
              <a:chOff x="4731637" y="5003788"/>
              <a:chExt cx="1860394" cy="1659613"/>
            </a:xfrm>
          </p:grpSpPr>
          <p:grpSp>
            <p:nvGrpSpPr>
              <p:cNvPr id="69" name="Group 68"/>
              <p:cNvGrpSpPr/>
              <p:nvPr/>
            </p:nvGrpSpPr>
            <p:grpSpPr>
              <a:xfrm>
                <a:off x="5442809" y="5003788"/>
                <a:ext cx="443425" cy="443425"/>
                <a:chOff x="2494901" y="5182564"/>
                <a:chExt cx="443425" cy="443425"/>
              </a:xfrm>
            </p:grpSpPr>
            <p:sp>
              <p:nvSpPr>
                <p:cNvPr id="73" name="Oval 72"/>
                <p:cNvSpPr/>
                <p:nvPr/>
              </p:nvSpPr>
              <p:spPr>
                <a:xfrm rot="15256471">
                  <a:off x="2494901" y="5182564"/>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sp>
              <p:nvSpPr>
                <p:cNvPr id="74" name="Freeform 9"/>
                <p:cNvSpPr>
                  <a:spLocks noChangeAspect="1" noEditPoints="1"/>
                </p:cNvSpPr>
                <p:nvPr/>
              </p:nvSpPr>
              <p:spPr bwMode="auto">
                <a:xfrm>
                  <a:off x="2571401" y="5267116"/>
                  <a:ext cx="290424" cy="274320"/>
                </a:xfrm>
                <a:custGeom>
                  <a:avLst/>
                  <a:gdLst>
                    <a:gd name="T0" fmla="*/ 550 w 827"/>
                    <a:gd name="T1" fmla="*/ 641 h 785"/>
                    <a:gd name="T2" fmla="*/ 490 w 827"/>
                    <a:gd name="T3" fmla="*/ 624 h 785"/>
                    <a:gd name="T4" fmla="*/ 613 w 827"/>
                    <a:gd name="T5" fmla="*/ 611 h 785"/>
                    <a:gd name="T6" fmla="*/ 583 w 827"/>
                    <a:gd name="T7" fmla="*/ 634 h 785"/>
                    <a:gd name="T8" fmla="*/ 579 w 827"/>
                    <a:gd name="T9" fmla="*/ 636 h 785"/>
                    <a:gd name="T10" fmla="*/ 589 w 827"/>
                    <a:gd name="T11" fmla="*/ 670 h 785"/>
                    <a:gd name="T12" fmla="*/ 613 w 827"/>
                    <a:gd name="T13" fmla="*/ 657 h 785"/>
                    <a:gd name="T14" fmla="*/ 649 w 827"/>
                    <a:gd name="T15" fmla="*/ 619 h 785"/>
                    <a:gd name="T16" fmla="*/ 664 w 827"/>
                    <a:gd name="T17" fmla="*/ 578 h 785"/>
                    <a:gd name="T18" fmla="*/ 652 w 827"/>
                    <a:gd name="T19" fmla="*/ 500 h 785"/>
                    <a:gd name="T20" fmla="*/ 630 w 827"/>
                    <a:gd name="T21" fmla="*/ 564 h 785"/>
                    <a:gd name="T22" fmla="*/ 213 w 827"/>
                    <a:gd name="T23" fmla="*/ 602 h 785"/>
                    <a:gd name="T24" fmla="*/ 210 w 827"/>
                    <a:gd name="T25" fmla="*/ 648 h 785"/>
                    <a:gd name="T26" fmla="*/ 253 w 827"/>
                    <a:gd name="T27" fmla="*/ 624 h 785"/>
                    <a:gd name="T28" fmla="*/ 827 w 827"/>
                    <a:gd name="T29" fmla="*/ 740 h 785"/>
                    <a:gd name="T30" fmla="*/ 716 w 827"/>
                    <a:gd name="T31" fmla="*/ 394 h 785"/>
                    <a:gd name="T32" fmla="*/ 415 w 827"/>
                    <a:gd name="T33" fmla="*/ 383 h 785"/>
                    <a:gd name="T34" fmla="*/ 635 w 827"/>
                    <a:gd name="T35" fmla="*/ 466 h 785"/>
                    <a:gd name="T36" fmla="*/ 188 w 827"/>
                    <a:gd name="T37" fmla="*/ 717 h 785"/>
                    <a:gd name="T38" fmla="*/ 157 w 827"/>
                    <a:gd name="T39" fmla="*/ 681 h 785"/>
                    <a:gd name="T40" fmla="*/ 149 w 827"/>
                    <a:gd name="T41" fmla="*/ 438 h 785"/>
                    <a:gd name="T42" fmla="*/ 121 w 827"/>
                    <a:gd name="T43" fmla="*/ 387 h 785"/>
                    <a:gd name="T44" fmla="*/ 95 w 827"/>
                    <a:gd name="T45" fmla="*/ 417 h 785"/>
                    <a:gd name="T46" fmla="*/ 4 w 827"/>
                    <a:gd name="T47" fmla="*/ 762 h 785"/>
                    <a:gd name="T48" fmla="*/ 38 w 827"/>
                    <a:gd name="T49" fmla="*/ 784 h 785"/>
                    <a:gd name="T50" fmla="*/ 809 w 827"/>
                    <a:gd name="T51" fmla="*/ 776 h 785"/>
                    <a:gd name="T52" fmla="*/ 827 w 827"/>
                    <a:gd name="T53" fmla="*/ 745 h 785"/>
                    <a:gd name="T54" fmla="*/ 256 w 827"/>
                    <a:gd name="T55" fmla="*/ 180 h 785"/>
                    <a:gd name="T56" fmla="*/ 295 w 827"/>
                    <a:gd name="T57" fmla="*/ 231 h 785"/>
                    <a:gd name="T58" fmla="*/ 361 w 827"/>
                    <a:gd name="T59" fmla="*/ 240 h 785"/>
                    <a:gd name="T60" fmla="*/ 412 w 827"/>
                    <a:gd name="T61" fmla="*/ 200 h 785"/>
                    <a:gd name="T62" fmla="*/ 421 w 827"/>
                    <a:gd name="T63" fmla="*/ 134 h 785"/>
                    <a:gd name="T64" fmla="*/ 381 w 827"/>
                    <a:gd name="T65" fmla="*/ 83 h 785"/>
                    <a:gd name="T66" fmla="*/ 315 w 827"/>
                    <a:gd name="T67" fmla="*/ 74 h 785"/>
                    <a:gd name="T68" fmla="*/ 264 w 827"/>
                    <a:gd name="T69" fmla="*/ 114 h 785"/>
                    <a:gd name="T70" fmla="*/ 181 w 827"/>
                    <a:gd name="T71" fmla="*/ 170 h 785"/>
                    <a:gd name="T72" fmla="*/ 190 w 827"/>
                    <a:gd name="T73" fmla="*/ 113 h 785"/>
                    <a:gd name="T74" fmla="*/ 231 w 827"/>
                    <a:gd name="T75" fmla="*/ 49 h 785"/>
                    <a:gd name="T76" fmla="*/ 298 w 827"/>
                    <a:gd name="T77" fmla="*/ 7 h 785"/>
                    <a:gd name="T78" fmla="*/ 378 w 827"/>
                    <a:gd name="T79" fmla="*/ 7 h 785"/>
                    <a:gd name="T80" fmla="*/ 445 w 827"/>
                    <a:gd name="T81" fmla="*/ 49 h 785"/>
                    <a:gd name="T82" fmla="*/ 487 w 827"/>
                    <a:gd name="T83" fmla="*/ 113 h 785"/>
                    <a:gd name="T84" fmla="*/ 495 w 827"/>
                    <a:gd name="T85" fmla="*/ 182 h 785"/>
                    <a:gd name="T86" fmla="*/ 480 w 827"/>
                    <a:gd name="T87" fmla="*/ 232 h 785"/>
                    <a:gd name="T88" fmla="*/ 451 w 827"/>
                    <a:gd name="T89" fmla="*/ 267 h 785"/>
                    <a:gd name="T90" fmla="*/ 376 w 827"/>
                    <a:gd name="T91" fmla="*/ 395 h 785"/>
                    <a:gd name="T92" fmla="*/ 333 w 827"/>
                    <a:gd name="T93" fmla="*/ 491 h 785"/>
                    <a:gd name="T94" fmla="*/ 301 w 827"/>
                    <a:gd name="T95" fmla="*/ 398 h 785"/>
                    <a:gd name="T96" fmla="*/ 250 w 827"/>
                    <a:gd name="T97" fmla="*/ 298 h 785"/>
                    <a:gd name="T98" fmla="*/ 204 w 827"/>
                    <a:gd name="T99" fmla="*/ 244 h 785"/>
                    <a:gd name="T100" fmla="*/ 185 w 827"/>
                    <a:gd name="T101" fmla="*/ 202 h 785"/>
                    <a:gd name="T102" fmla="*/ 334 w 827"/>
                    <a:gd name="T103" fmla="*/ 585 h 785"/>
                    <a:gd name="T104" fmla="*/ 286 w 827"/>
                    <a:gd name="T105" fmla="*/ 619 h 785"/>
                    <a:gd name="T106" fmla="*/ 349 w 827"/>
                    <a:gd name="T107" fmla="*/ 622 h 785"/>
                    <a:gd name="T108" fmla="*/ 382 w 827"/>
                    <a:gd name="T109" fmla="*/ 628 h 785"/>
                    <a:gd name="T110" fmla="*/ 435 w 827"/>
                    <a:gd name="T111" fmla="*/ 604 h 785"/>
                    <a:gd name="T112" fmla="*/ 444 w 827"/>
                    <a:gd name="T113" fmla="*/ 644 h 785"/>
                    <a:gd name="T114" fmla="*/ 385 w 827"/>
                    <a:gd name="T115" fmla="*/ 62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7" h="785">
                      <a:moveTo>
                        <a:pt x="513" y="670"/>
                      </a:moveTo>
                      <a:lnTo>
                        <a:pt x="513" y="670"/>
                      </a:lnTo>
                      <a:lnTo>
                        <a:pt x="525" y="673"/>
                      </a:lnTo>
                      <a:lnTo>
                        <a:pt x="537" y="675"/>
                      </a:lnTo>
                      <a:lnTo>
                        <a:pt x="549" y="677"/>
                      </a:lnTo>
                      <a:lnTo>
                        <a:pt x="550" y="641"/>
                      </a:lnTo>
                      <a:lnTo>
                        <a:pt x="540" y="640"/>
                      </a:lnTo>
                      <a:lnTo>
                        <a:pt x="530" y="638"/>
                      </a:lnTo>
                      <a:lnTo>
                        <a:pt x="519" y="635"/>
                      </a:lnTo>
                      <a:lnTo>
                        <a:pt x="509" y="632"/>
                      </a:lnTo>
                      <a:lnTo>
                        <a:pt x="499" y="628"/>
                      </a:lnTo>
                      <a:lnTo>
                        <a:pt x="490" y="624"/>
                      </a:lnTo>
                      <a:lnTo>
                        <a:pt x="478" y="657"/>
                      </a:lnTo>
                      <a:lnTo>
                        <a:pt x="489" y="661"/>
                      </a:lnTo>
                      <a:lnTo>
                        <a:pt x="501" y="666"/>
                      </a:lnTo>
                      <a:lnTo>
                        <a:pt x="513" y="670"/>
                      </a:lnTo>
                      <a:lnTo>
                        <a:pt x="513" y="670"/>
                      </a:lnTo>
                      <a:close/>
                      <a:moveTo>
                        <a:pt x="613" y="611"/>
                      </a:moveTo>
                      <a:lnTo>
                        <a:pt x="613" y="611"/>
                      </a:lnTo>
                      <a:lnTo>
                        <a:pt x="606" y="618"/>
                      </a:lnTo>
                      <a:lnTo>
                        <a:pt x="599" y="624"/>
                      </a:lnTo>
                      <a:lnTo>
                        <a:pt x="591" y="629"/>
                      </a:lnTo>
                      <a:lnTo>
                        <a:pt x="583" y="634"/>
                      </a:lnTo>
                      <a:lnTo>
                        <a:pt x="583" y="634"/>
                      </a:lnTo>
                      <a:lnTo>
                        <a:pt x="582" y="635"/>
                      </a:lnTo>
                      <a:lnTo>
                        <a:pt x="582" y="635"/>
                      </a:lnTo>
                      <a:lnTo>
                        <a:pt x="581" y="635"/>
                      </a:lnTo>
                      <a:lnTo>
                        <a:pt x="581" y="635"/>
                      </a:lnTo>
                      <a:lnTo>
                        <a:pt x="580" y="636"/>
                      </a:lnTo>
                      <a:lnTo>
                        <a:pt x="579" y="636"/>
                      </a:lnTo>
                      <a:lnTo>
                        <a:pt x="579" y="636"/>
                      </a:lnTo>
                      <a:lnTo>
                        <a:pt x="578" y="636"/>
                      </a:lnTo>
                      <a:lnTo>
                        <a:pt x="578" y="636"/>
                      </a:lnTo>
                      <a:lnTo>
                        <a:pt x="577" y="636"/>
                      </a:lnTo>
                      <a:lnTo>
                        <a:pt x="577" y="637"/>
                      </a:lnTo>
                      <a:lnTo>
                        <a:pt x="589" y="670"/>
                      </a:lnTo>
                      <a:lnTo>
                        <a:pt x="589" y="670"/>
                      </a:lnTo>
                      <a:lnTo>
                        <a:pt x="590" y="669"/>
                      </a:lnTo>
                      <a:lnTo>
                        <a:pt x="592" y="669"/>
                      </a:lnTo>
                      <a:lnTo>
                        <a:pt x="592" y="669"/>
                      </a:lnTo>
                      <a:lnTo>
                        <a:pt x="603" y="663"/>
                      </a:lnTo>
                      <a:lnTo>
                        <a:pt x="613" y="657"/>
                      </a:lnTo>
                      <a:lnTo>
                        <a:pt x="623" y="649"/>
                      </a:lnTo>
                      <a:lnTo>
                        <a:pt x="632" y="641"/>
                      </a:lnTo>
                      <a:lnTo>
                        <a:pt x="640" y="633"/>
                      </a:lnTo>
                      <a:lnTo>
                        <a:pt x="647" y="624"/>
                      </a:lnTo>
                      <a:lnTo>
                        <a:pt x="648" y="621"/>
                      </a:lnTo>
                      <a:lnTo>
                        <a:pt x="649" y="619"/>
                      </a:lnTo>
                      <a:lnTo>
                        <a:pt x="650" y="618"/>
                      </a:lnTo>
                      <a:lnTo>
                        <a:pt x="618" y="603"/>
                      </a:lnTo>
                      <a:lnTo>
                        <a:pt x="613" y="611"/>
                      </a:lnTo>
                      <a:lnTo>
                        <a:pt x="613" y="611"/>
                      </a:lnTo>
                      <a:close/>
                      <a:moveTo>
                        <a:pt x="664" y="578"/>
                      </a:moveTo>
                      <a:lnTo>
                        <a:pt x="664" y="578"/>
                      </a:lnTo>
                      <a:lnTo>
                        <a:pt x="665" y="565"/>
                      </a:lnTo>
                      <a:lnTo>
                        <a:pt x="665" y="552"/>
                      </a:lnTo>
                      <a:lnTo>
                        <a:pt x="663" y="538"/>
                      </a:lnTo>
                      <a:lnTo>
                        <a:pt x="660" y="525"/>
                      </a:lnTo>
                      <a:lnTo>
                        <a:pt x="656" y="513"/>
                      </a:lnTo>
                      <a:lnTo>
                        <a:pt x="652" y="500"/>
                      </a:lnTo>
                      <a:lnTo>
                        <a:pt x="620" y="514"/>
                      </a:lnTo>
                      <a:lnTo>
                        <a:pt x="623" y="523"/>
                      </a:lnTo>
                      <a:lnTo>
                        <a:pt x="626" y="533"/>
                      </a:lnTo>
                      <a:lnTo>
                        <a:pt x="629" y="543"/>
                      </a:lnTo>
                      <a:lnTo>
                        <a:pt x="630" y="553"/>
                      </a:lnTo>
                      <a:lnTo>
                        <a:pt x="630" y="564"/>
                      </a:lnTo>
                      <a:lnTo>
                        <a:pt x="630" y="574"/>
                      </a:lnTo>
                      <a:lnTo>
                        <a:pt x="664" y="578"/>
                      </a:lnTo>
                      <a:lnTo>
                        <a:pt x="664" y="578"/>
                      </a:lnTo>
                      <a:close/>
                      <a:moveTo>
                        <a:pt x="223" y="597"/>
                      </a:moveTo>
                      <a:lnTo>
                        <a:pt x="223" y="597"/>
                      </a:lnTo>
                      <a:lnTo>
                        <a:pt x="213" y="602"/>
                      </a:lnTo>
                      <a:lnTo>
                        <a:pt x="203" y="608"/>
                      </a:lnTo>
                      <a:lnTo>
                        <a:pt x="194" y="615"/>
                      </a:lnTo>
                      <a:lnTo>
                        <a:pt x="186" y="623"/>
                      </a:lnTo>
                      <a:lnTo>
                        <a:pt x="178" y="632"/>
                      </a:lnTo>
                      <a:lnTo>
                        <a:pt x="205" y="654"/>
                      </a:lnTo>
                      <a:lnTo>
                        <a:pt x="210" y="648"/>
                      </a:lnTo>
                      <a:lnTo>
                        <a:pt x="217" y="642"/>
                      </a:lnTo>
                      <a:lnTo>
                        <a:pt x="223" y="637"/>
                      </a:lnTo>
                      <a:lnTo>
                        <a:pt x="230" y="633"/>
                      </a:lnTo>
                      <a:lnTo>
                        <a:pt x="238" y="630"/>
                      </a:lnTo>
                      <a:lnTo>
                        <a:pt x="245" y="627"/>
                      </a:lnTo>
                      <a:lnTo>
                        <a:pt x="253" y="624"/>
                      </a:lnTo>
                      <a:lnTo>
                        <a:pt x="245" y="590"/>
                      </a:lnTo>
                      <a:lnTo>
                        <a:pt x="234" y="593"/>
                      </a:lnTo>
                      <a:lnTo>
                        <a:pt x="223" y="597"/>
                      </a:lnTo>
                      <a:lnTo>
                        <a:pt x="223" y="597"/>
                      </a:lnTo>
                      <a:close/>
                      <a:moveTo>
                        <a:pt x="827" y="740"/>
                      </a:moveTo>
                      <a:lnTo>
                        <a:pt x="827" y="740"/>
                      </a:lnTo>
                      <a:lnTo>
                        <a:pt x="826" y="736"/>
                      </a:lnTo>
                      <a:lnTo>
                        <a:pt x="731" y="417"/>
                      </a:lnTo>
                      <a:lnTo>
                        <a:pt x="729" y="411"/>
                      </a:lnTo>
                      <a:lnTo>
                        <a:pt x="725" y="405"/>
                      </a:lnTo>
                      <a:lnTo>
                        <a:pt x="721" y="399"/>
                      </a:lnTo>
                      <a:lnTo>
                        <a:pt x="716" y="394"/>
                      </a:lnTo>
                      <a:lnTo>
                        <a:pt x="711" y="390"/>
                      </a:lnTo>
                      <a:lnTo>
                        <a:pt x="706" y="387"/>
                      </a:lnTo>
                      <a:lnTo>
                        <a:pt x="700" y="385"/>
                      </a:lnTo>
                      <a:lnTo>
                        <a:pt x="694" y="384"/>
                      </a:lnTo>
                      <a:lnTo>
                        <a:pt x="687" y="383"/>
                      </a:lnTo>
                      <a:lnTo>
                        <a:pt x="415" y="383"/>
                      </a:lnTo>
                      <a:lnTo>
                        <a:pt x="389" y="438"/>
                      </a:lnTo>
                      <a:lnTo>
                        <a:pt x="575" y="438"/>
                      </a:lnTo>
                      <a:lnTo>
                        <a:pt x="586" y="453"/>
                      </a:lnTo>
                      <a:lnTo>
                        <a:pt x="596" y="468"/>
                      </a:lnTo>
                      <a:lnTo>
                        <a:pt x="606" y="484"/>
                      </a:lnTo>
                      <a:lnTo>
                        <a:pt x="635" y="466"/>
                      </a:lnTo>
                      <a:lnTo>
                        <a:pt x="627" y="452"/>
                      </a:lnTo>
                      <a:lnTo>
                        <a:pt x="618" y="438"/>
                      </a:lnTo>
                      <a:lnTo>
                        <a:pt x="678" y="438"/>
                      </a:lnTo>
                      <a:lnTo>
                        <a:pt x="764" y="730"/>
                      </a:lnTo>
                      <a:lnTo>
                        <a:pt x="189" y="730"/>
                      </a:lnTo>
                      <a:lnTo>
                        <a:pt x="188" y="717"/>
                      </a:lnTo>
                      <a:lnTo>
                        <a:pt x="189" y="704"/>
                      </a:lnTo>
                      <a:lnTo>
                        <a:pt x="190" y="692"/>
                      </a:lnTo>
                      <a:lnTo>
                        <a:pt x="193" y="680"/>
                      </a:lnTo>
                      <a:lnTo>
                        <a:pt x="160" y="669"/>
                      </a:lnTo>
                      <a:lnTo>
                        <a:pt x="160" y="670"/>
                      </a:lnTo>
                      <a:lnTo>
                        <a:pt x="157" y="681"/>
                      </a:lnTo>
                      <a:lnTo>
                        <a:pt x="155" y="693"/>
                      </a:lnTo>
                      <a:lnTo>
                        <a:pt x="154" y="705"/>
                      </a:lnTo>
                      <a:lnTo>
                        <a:pt x="154" y="717"/>
                      </a:lnTo>
                      <a:lnTo>
                        <a:pt x="155" y="730"/>
                      </a:lnTo>
                      <a:lnTo>
                        <a:pt x="62" y="730"/>
                      </a:lnTo>
                      <a:lnTo>
                        <a:pt x="149" y="438"/>
                      </a:lnTo>
                      <a:lnTo>
                        <a:pt x="288" y="438"/>
                      </a:lnTo>
                      <a:lnTo>
                        <a:pt x="262" y="383"/>
                      </a:lnTo>
                      <a:lnTo>
                        <a:pt x="140" y="383"/>
                      </a:lnTo>
                      <a:lnTo>
                        <a:pt x="133" y="384"/>
                      </a:lnTo>
                      <a:lnTo>
                        <a:pt x="127" y="385"/>
                      </a:lnTo>
                      <a:lnTo>
                        <a:pt x="121" y="387"/>
                      </a:lnTo>
                      <a:lnTo>
                        <a:pt x="115" y="390"/>
                      </a:lnTo>
                      <a:lnTo>
                        <a:pt x="110" y="394"/>
                      </a:lnTo>
                      <a:lnTo>
                        <a:pt x="105" y="399"/>
                      </a:lnTo>
                      <a:lnTo>
                        <a:pt x="101" y="405"/>
                      </a:lnTo>
                      <a:lnTo>
                        <a:pt x="98" y="411"/>
                      </a:lnTo>
                      <a:lnTo>
                        <a:pt x="95" y="417"/>
                      </a:lnTo>
                      <a:lnTo>
                        <a:pt x="1" y="736"/>
                      </a:lnTo>
                      <a:lnTo>
                        <a:pt x="0" y="740"/>
                      </a:lnTo>
                      <a:lnTo>
                        <a:pt x="0" y="745"/>
                      </a:lnTo>
                      <a:lnTo>
                        <a:pt x="0" y="751"/>
                      </a:lnTo>
                      <a:lnTo>
                        <a:pt x="2" y="757"/>
                      </a:lnTo>
                      <a:lnTo>
                        <a:pt x="4" y="762"/>
                      </a:lnTo>
                      <a:lnTo>
                        <a:pt x="8" y="767"/>
                      </a:lnTo>
                      <a:lnTo>
                        <a:pt x="12" y="772"/>
                      </a:lnTo>
                      <a:lnTo>
                        <a:pt x="18" y="776"/>
                      </a:lnTo>
                      <a:lnTo>
                        <a:pt x="25" y="780"/>
                      </a:lnTo>
                      <a:lnTo>
                        <a:pt x="32" y="783"/>
                      </a:lnTo>
                      <a:lnTo>
                        <a:pt x="38" y="784"/>
                      </a:lnTo>
                      <a:lnTo>
                        <a:pt x="45" y="785"/>
                      </a:lnTo>
                      <a:lnTo>
                        <a:pt x="781" y="785"/>
                      </a:lnTo>
                      <a:lnTo>
                        <a:pt x="788" y="784"/>
                      </a:lnTo>
                      <a:lnTo>
                        <a:pt x="795" y="783"/>
                      </a:lnTo>
                      <a:lnTo>
                        <a:pt x="802" y="780"/>
                      </a:lnTo>
                      <a:lnTo>
                        <a:pt x="809" y="776"/>
                      </a:lnTo>
                      <a:lnTo>
                        <a:pt x="815" y="772"/>
                      </a:lnTo>
                      <a:lnTo>
                        <a:pt x="819" y="767"/>
                      </a:lnTo>
                      <a:lnTo>
                        <a:pt x="822" y="762"/>
                      </a:lnTo>
                      <a:lnTo>
                        <a:pt x="825" y="757"/>
                      </a:lnTo>
                      <a:lnTo>
                        <a:pt x="826" y="751"/>
                      </a:lnTo>
                      <a:lnTo>
                        <a:pt x="827" y="745"/>
                      </a:lnTo>
                      <a:lnTo>
                        <a:pt x="827" y="740"/>
                      </a:lnTo>
                      <a:lnTo>
                        <a:pt x="827" y="740"/>
                      </a:lnTo>
                      <a:close/>
                      <a:moveTo>
                        <a:pt x="252" y="157"/>
                      </a:moveTo>
                      <a:lnTo>
                        <a:pt x="252" y="157"/>
                      </a:lnTo>
                      <a:lnTo>
                        <a:pt x="253" y="169"/>
                      </a:lnTo>
                      <a:lnTo>
                        <a:pt x="256" y="180"/>
                      </a:lnTo>
                      <a:lnTo>
                        <a:pt x="259" y="190"/>
                      </a:lnTo>
                      <a:lnTo>
                        <a:pt x="264" y="200"/>
                      </a:lnTo>
                      <a:lnTo>
                        <a:pt x="270" y="209"/>
                      </a:lnTo>
                      <a:lnTo>
                        <a:pt x="277" y="218"/>
                      </a:lnTo>
                      <a:lnTo>
                        <a:pt x="286" y="225"/>
                      </a:lnTo>
                      <a:lnTo>
                        <a:pt x="295" y="231"/>
                      </a:lnTo>
                      <a:lnTo>
                        <a:pt x="305" y="236"/>
                      </a:lnTo>
                      <a:lnTo>
                        <a:pt x="315" y="240"/>
                      </a:lnTo>
                      <a:lnTo>
                        <a:pt x="326" y="242"/>
                      </a:lnTo>
                      <a:lnTo>
                        <a:pt x="338" y="243"/>
                      </a:lnTo>
                      <a:lnTo>
                        <a:pt x="350" y="242"/>
                      </a:lnTo>
                      <a:lnTo>
                        <a:pt x="361" y="240"/>
                      </a:lnTo>
                      <a:lnTo>
                        <a:pt x="371" y="236"/>
                      </a:lnTo>
                      <a:lnTo>
                        <a:pt x="381" y="231"/>
                      </a:lnTo>
                      <a:lnTo>
                        <a:pt x="391" y="225"/>
                      </a:lnTo>
                      <a:lnTo>
                        <a:pt x="399" y="218"/>
                      </a:lnTo>
                      <a:lnTo>
                        <a:pt x="406" y="209"/>
                      </a:lnTo>
                      <a:lnTo>
                        <a:pt x="412" y="200"/>
                      </a:lnTo>
                      <a:lnTo>
                        <a:pt x="417" y="190"/>
                      </a:lnTo>
                      <a:lnTo>
                        <a:pt x="421" y="180"/>
                      </a:lnTo>
                      <a:lnTo>
                        <a:pt x="423" y="169"/>
                      </a:lnTo>
                      <a:lnTo>
                        <a:pt x="424" y="157"/>
                      </a:lnTo>
                      <a:lnTo>
                        <a:pt x="423" y="145"/>
                      </a:lnTo>
                      <a:lnTo>
                        <a:pt x="421" y="134"/>
                      </a:lnTo>
                      <a:lnTo>
                        <a:pt x="417" y="124"/>
                      </a:lnTo>
                      <a:lnTo>
                        <a:pt x="412" y="114"/>
                      </a:lnTo>
                      <a:lnTo>
                        <a:pt x="406" y="105"/>
                      </a:lnTo>
                      <a:lnTo>
                        <a:pt x="399" y="96"/>
                      </a:lnTo>
                      <a:lnTo>
                        <a:pt x="391" y="89"/>
                      </a:lnTo>
                      <a:lnTo>
                        <a:pt x="381" y="83"/>
                      </a:lnTo>
                      <a:lnTo>
                        <a:pt x="371" y="78"/>
                      </a:lnTo>
                      <a:lnTo>
                        <a:pt x="361" y="74"/>
                      </a:lnTo>
                      <a:lnTo>
                        <a:pt x="350" y="72"/>
                      </a:lnTo>
                      <a:lnTo>
                        <a:pt x="338" y="71"/>
                      </a:lnTo>
                      <a:lnTo>
                        <a:pt x="326" y="72"/>
                      </a:lnTo>
                      <a:lnTo>
                        <a:pt x="315" y="74"/>
                      </a:lnTo>
                      <a:lnTo>
                        <a:pt x="305" y="78"/>
                      </a:lnTo>
                      <a:lnTo>
                        <a:pt x="295" y="83"/>
                      </a:lnTo>
                      <a:lnTo>
                        <a:pt x="286" y="89"/>
                      </a:lnTo>
                      <a:lnTo>
                        <a:pt x="277" y="96"/>
                      </a:lnTo>
                      <a:lnTo>
                        <a:pt x="270" y="105"/>
                      </a:lnTo>
                      <a:lnTo>
                        <a:pt x="264" y="114"/>
                      </a:lnTo>
                      <a:lnTo>
                        <a:pt x="259" y="124"/>
                      </a:lnTo>
                      <a:lnTo>
                        <a:pt x="256" y="134"/>
                      </a:lnTo>
                      <a:lnTo>
                        <a:pt x="253" y="145"/>
                      </a:lnTo>
                      <a:lnTo>
                        <a:pt x="252" y="157"/>
                      </a:lnTo>
                      <a:lnTo>
                        <a:pt x="252" y="157"/>
                      </a:lnTo>
                      <a:close/>
                      <a:moveTo>
                        <a:pt x="181" y="170"/>
                      </a:moveTo>
                      <a:lnTo>
                        <a:pt x="181" y="170"/>
                      </a:lnTo>
                      <a:lnTo>
                        <a:pt x="180" y="157"/>
                      </a:lnTo>
                      <a:lnTo>
                        <a:pt x="181" y="147"/>
                      </a:lnTo>
                      <a:lnTo>
                        <a:pt x="183" y="136"/>
                      </a:lnTo>
                      <a:lnTo>
                        <a:pt x="185" y="125"/>
                      </a:lnTo>
                      <a:lnTo>
                        <a:pt x="190" y="113"/>
                      </a:lnTo>
                      <a:lnTo>
                        <a:pt x="194" y="102"/>
                      </a:lnTo>
                      <a:lnTo>
                        <a:pt x="200" y="91"/>
                      </a:lnTo>
                      <a:lnTo>
                        <a:pt x="207" y="80"/>
                      </a:lnTo>
                      <a:lnTo>
                        <a:pt x="214" y="69"/>
                      </a:lnTo>
                      <a:lnTo>
                        <a:pt x="222" y="59"/>
                      </a:lnTo>
                      <a:lnTo>
                        <a:pt x="231" y="49"/>
                      </a:lnTo>
                      <a:lnTo>
                        <a:pt x="241" y="40"/>
                      </a:lnTo>
                      <a:lnTo>
                        <a:pt x="251" y="31"/>
                      </a:lnTo>
                      <a:lnTo>
                        <a:pt x="262" y="23"/>
                      </a:lnTo>
                      <a:lnTo>
                        <a:pt x="274" y="16"/>
                      </a:lnTo>
                      <a:lnTo>
                        <a:pt x="286" y="11"/>
                      </a:lnTo>
                      <a:lnTo>
                        <a:pt x="298" y="7"/>
                      </a:lnTo>
                      <a:lnTo>
                        <a:pt x="311" y="3"/>
                      </a:lnTo>
                      <a:lnTo>
                        <a:pt x="325" y="1"/>
                      </a:lnTo>
                      <a:lnTo>
                        <a:pt x="338" y="0"/>
                      </a:lnTo>
                      <a:lnTo>
                        <a:pt x="352" y="1"/>
                      </a:lnTo>
                      <a:lnTo>
                        <a:pt x="365" y="3"/>
                      </a:lnTo>
                      <a:lnTo>
                        <a:pt x="378" y="7"/>
                      </a:lnTo>
                      <a:lnTo>
                        <a:pt x="390" y="11"/>
                      </a:lnTo>
                      <a:lnTo>
                        <a:pt x="402" y="16"/>
                      </a:lnTo>
                      <a:lnTo>
                        <a:pt x="414" y="23"/>
                      </a:lnTo>
                      <a:lnTo>
                        <a:pt x="425" y="31"/>
                      </a:lnTo>
                      <a:lnTo>
                        <a:pt x="435" y="40"/>
                      </a:lnTo>
                      <a:lnTo>
                        <a:pt x="445" y="49"/>
                      </a:lnTo>
                      <a:lnTo>
                        <a:pt x="454" y="59"/>
                      </a:lnTo>
                      <a:lnTo>
                        <a:pt x="462" y="69"/>
                      </a:lnTo>
                      <a:lnTo>
                        <a:pt x="470" y="80"/>
                      </a:lnTo>
                      <a:lnTo>
                        <a:pt x="476" y="91"/>
                      </a:lnTo>
                      <a:lnTo>
                        <a:pt x="482" y="102"/>
                      </a:lnTo>
                      <a:lnTo>
                        <a:pt x="487" y="113"/>
                      </a:lnTo>
                      <a:lnTo>
                        <a:pt x="491" y="125"/>
                      </a:lnTo>
                      <a:lnTo>
                        <a:pt x="493" y="136"/>
                      </a:lnTo>
                      <a:lnTo>
                        <a:pt x="495" y="147"/>
                      </a:lnTo>
                      <a:lnTo>
                        <a:pt x="496" y="157"/>
                      </a:lnTo>
                      <a:lnTo>
                        <a:pt x="495" y="170"/>
                      </a:lnTo>
                      <a:lnTo>
                        <a:pt x="495" y="182"/>
                      </a:lnTo>
                      <a:lnTo>
                        <a:pt x="493" y="192"/>
                      </a:lnTo>
                      <a:lnTo>
                        <a:pt x="492" y="202"/>
                      </a:lnTo>
                      <a:lnTo>
                        <a:pt x="489" y="210"/>
                      </a:lnTo>
                      <a:lnTo>
                        <a:pt x="487" y="218"/>
                      </a:lnTo>
                      <a:lnTo>
                        <a:pt x="484" y="225"/>
                      </a:lnTo>
                      <a:lnTo>
                        <a:pt x="480" y="232"/>
                      </a:lnTo>
                      <a:lnTo>
                        <a:pt x="477" y="238"/>
                      </a:lnTo>
                      <a:lnTo>
                        <a:pt x="472" y="244"/>
                      </a:lnTo>
                      <a:lnTo>
                        <a:pt x="467" y="249"/>
                      </a:lnTo>
                      <a:lnTo>
                        <a:pt x="462" y="255"/>
                      </a:lnTo>
                      <a:lnTo>
                        <a:pt x="457" y="261"/>
                      </a:lnTo>
                      <a:lnTo>
                        <a:pt x="451" y="267"/>
                      </a:lnTo>
                      <a:lnTo>
                        <a:pt x="435" y="288"/>
                      </a:lnTo>
                      <a:lnTo>
                        <a:pt x="421" y="309"/>
                      </a:lnTo>
                      <a:lnTo>
                        <a:pt x="408" y="331"/>
                      </a:lnTo>
                      <a:lnTo>
                        <a:pt x="396" y="352"/>
                      </a:lnTo>
                      <a:lnTo>
                        <a:pt x="386" y="373"/>
                      </a:lnTo>
                      <a:lnTo>
                        <a:pt x="376" y="395"/>
                      </a:lnTo>
                      <a:lnTo>
                        <a:pt x="368" y="417"/>
                      </a:lnTo>
                      <a:lnTo>
                        <a:pt x="360" y="439"/>
                      </a:lnTo>
                      <a:lnTo>
                        <a:pt x="352" y="460"/>
                      </a:lnTo>
                      <a:lnTo>
                        <a:pt x="345" y="482"/>
                      </a:lnTo>
                      <a:lnTo>
                        <a:pt x="338" y="504"/>
                      </a:lnTo>
                      <a:lnTo>
                        <a:pt x="333" y="491"/>
                      </a:lnTo>
                      <a:lnTo>
                        <a:pt x="328" y="477"/>
                      </a:lnTo>
                      <a:lnTo>
                        <a:pt x="323" y="462"/>
                      </a:lnTo>
                      <a:lnTo>
                        <a:pt x="318" y="447"/>
                      </a:lnTo>
                      <a:lnTo>
                        <a:pt x="312" y="431"/>
                      </a:lnTo>
                      <a:lnTo>
                        <a:pt x="307" y="415"/>
                      </a:lnTo>
                      <a:lnTo>
                        <a:pt x="301" y="398"/>
                      </a:lnTo>
                      <a:lnTo>
                        <a:pt x="294" y="382"/>
                      </a:lnTo>
                      <a:lnTo>
                        <a:pt x="287" y="365"/>
                      </a:lnTo>
                      <a:lnTo>
                        <a:pt x="279" y="348"/>
                      </a:lnTo>
                      <a:lnTo>
                        <a:pt x="270" y="331"/>
                      </a:lnTo>
                      <a:lnTo>
                        <a:pt x="261" y="314"/>
                      </a:lnTo>
                      <a:lnTo>
                        <a:pt x="250" y="298"/>
                      </a:lnTo>
                      <a:lnTo>
                        <a:pt x="238" y="282"/>
                      </a:lnTo>
                      <a:lnTo>
                        <a:pt x="225" y="267"/>
                      </a:lnTo>
                      <a:lnTo>
                        <a:pt x="219" y="261"/>
                      </a:lnTo>
                      <a:lnTo>
                        <a:pt x="214" y="255"/>
                      </a:lnTo>
                      <a:lnTo>
                        <a:pt x="209" y="249"/>
                      </a:lnTo>
                      <a:lnTo>
                        <a:pt x="204" y="244"/>
                      </a:lnTo>
                      <a:lnTo>
                        <a:pt x="200" y="238"/>
                      </a:lnTo>
                      <a:lnTo>
                        <a:pt x="196" y="232"/>
                      </a:lnTo>
                      <a:lnTo>
                        <a:pt x="192" y="225"/>
                      </a:lnTo>
                      <a:lnTo>
                        <a:pt x="189" y="218"/>
                      </a:lnTo>
                      <a:lnTo>
                        <a:pt x="187" y="210"/>
                      </a:lnTo>
                      <a:lnTo>
                        <a:pt x="185" y="202"/>
                      </a:lnTo>
                      <a:lnTo>
                        <a:pt x="183" y="192"/>
                      </a:lnTo>
                      <a:lnTo>
                        <a:pt x="182" y="182"/>
                      </a:lnTo>
                      <a:lnTo>
                        <a:pt x="181" y="170"/>
                      </a:lnTo>
                      <a:lnTo>
                        <a:pt x="181" y="170"/>
                      </a:lnTo>
                      <a:close/>
                      <a:moveTo>
                        <a:pt x="334" y="585"/>
                      </a:moveTo>
                      <a:lnTo>
                        <a:pt x="334" y="585"/>
                      </a:lnTo>
                      <a:lnTo>
                        <a:pt x="318" y="584"/>
                      </a:lnTo>
                      <a:lnTo>
                        <a:pt x="302" y="583"/>
                      </a:lnTo>
                      <a:lnTo>
                        <a:pt x="286" y="584"/>
                      </a:lnTo>
                      <a:lnTo>
                        <a:pt x="282" y="584"/>
                      </a:lnTo>
                      <a:lnTo>
                        <a:pt x="284" y="619"/>
                      </a:lnTo>
                      <a:lnTo>
                        <a:pt x="286" y="619"/>
                      </a:lnTo>
                      <a:lnTo>
                        <a:pt x="301" y="619"/>
                      </a:lnTo>
                      <a:lnTo>
                        <a:pt x="316" y="619"/>
                      </a:lnTo>
                      <a:lnTo>
                        <a:pt x="331" y="620"/>
                      </a:lnTo>
                      <a:lnTo>
                        <a:pt x="346" y="622"/>
                      </a:lnTo>
                      <a:lnTo>
                        <a:pt x="349" y="622"/>
                      </a:lnTo>
                      <a:lnTo>
                        <a:pt x="349" y="622"/>
                      </a:lnTo>
                      <a:lnTo>
                        <a:pt x="354" y="587"/>
                      </a:lnTo>
                      <a:lnTo>
                        <a:pt x="353" y="587"/>
                      </a:lnTo>
                      <a:lnTo>
                        <a:pt x="350" y="587"/>
                      </a:lnTo>
                      <a:lnTo>
                        <a:pt x="334" y="585"/>
                      </a:lnTo>
                      <a:lnTo>
                        <a:pt x="334" y="585"/>
                      </a:lnTo>
                      <a:close/>
                      <a:moveTo>
                        <a:pt x="382" y="628"/>
                      </a:moveTo>
                      <a:lnTo>
                        <a:pt x="382" y="628"/>
                      </a:lnTo>
                      <a:lnTo>
                        <a:pt x="389" y="593"/>
                      </a:lnTo>
                      <a:lnTo>
                        <a:pt x="389" y="593"/>
                      </a:lnTo>
                      <a:lnTo>
                        <a:pt x="392" y="594"/>
                      </a:lnTo>
                      <a:lnTo>
                        <a:pt x="414" y="599"/>
                      </a:lnTo>
                      <a:lnTo>
                        <a:pt x="435" y="604"/>
                      </a:lnTo>
                      <a:lnTo>
                        <a:pt x="456" y="611"/>
                      </a:lnTo>
                      <a:lnTo>
                        <a:pt x="457" y="611"/>
                      </a:lnTo>
                      <a:lnTo>
                        <a:pt x="457" y="612"/>
                      </a:lnTo>
                      <a:lnTo>
                        <a:pt x="446" y="645"/>
                      </a:lnTo>
                      <a:lnTo>
                        <a:pt x="445" y="645"/>
                      </a:lnTo>
                      <a:lnTo>
                        <a:pt x="444" y="644"/>
                      </a:lnTo>
                      <a:lnTo>
                        <a:pt x="443" y="644"/>
                      </a:lnTo>
                      <a:lnTo>
                        <a:pt x="442" y="644"/>
                      </a:lnTo>
                      <a:lnTo>
                        <a:pt x="441" y="643"/>
                      </a:lnTo>
                      <a:lnTo>
                        <a:pt x="423" y="638"/>
                      </a:lnTo>
                      <a:lnTo>
                        <a:pt x="405" y="633"/>
                      </a:lnTo>
                      <a:lnTo>
                        <a:pt x="385" y="629"/>
                      </a:lnTo>
                      <a:lnTo>
                        <a:pt x="383" y="628"/>
                      </a:lnTo>
                      <a:lnTo>
                        <a:pt x="382" y="628"/>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0" name="Rectangle 69"/>
              <p:cNvSpPr/>
              <p:nvPr/>
            </p:nvSpPr>
            <p:spPr>
              <a:xfrm>
                <a:off x="4731637" y="5424412"/>
                <a:ext cx="1860394" cy="523220"/>
              </a:xfrm>
              <a:prstGeom prst="rect">
                <a:avLst/>
              </a:prstGeom>
            </p:spPr>
            <p:txBody>
              <a:bodyPr wrap="square">
                <a:spAutoFit/>
              </a:bodyPr>
              <a:lstStyle/>
              <a:p>
                <a:pPr algn="ctr"/>
                <a:r>
                  <a:rPr lang="en-US" sz="1400" b="1" dirty="0">
                    <a:solidFill>
                      <a:prstClr val="white"/>
                    </a:solidFill>
                  </a:rPr>
                  <a:t>Personal Development Plans</a:t>
                </a:r>
              </a:p>
            </p:txBody>
          </p:sp>
          <p:sp>
            <p:nvSpPr>
              <p:cNvPr id="72" name="Rectangle 71"/>
              <p:cNvSpPr/>
              <p:nvPr/>
            </p:nvSpPr>
            <p:spPr>
              <a:xfrm>
                <a:off x="4739181" y="5893960"/>
                <a:ext cx="1845308" cy="769441"/>
              </a:xfrm>
              <a:prstGeom prst="rect">
                <a:avLst/>
              </a:prstGeom>
            </p:spPr>
            <p:txBody>
              <a:bodyPr wrap="square">
                <a:spAutoFit/>
              </a:bodyPr>
              <a:lstStyle/>
              <a:p>
                <a:pPr algn="ctr"/>
                <a:r>
                  <a:rPr lang="en-US" sz="1100" dirty="0">
                    <a:solidFill>
                      <a:prstClr val="white"/>
                    </a:solidFill>
                  </a:rPr>
                  <a:t>Targeted action plans based on assessment results, engagement role, and developmental goals</a:t>
                </a:r>
              </a:p>
            </p:txBody>
          </p:sp>
        </p:grpSp>
        <p:grpSp>
          <p:nvGrpSpPr>
            <p:cNvPr id="75" name="Group 74"/>
            <p:cNvGrpSpPr/>
            <p:nvPr/>
          </p:nvGrpSpPr>
          <p:grpSpPr>
            <a:xfrm>
              <a:off x="4599727" y="5004224"/>
              <a:ext cx="1942910" cy="1659177"/>
              <a:chOff x="4599727" y="5004224"/>
              <a:chExt cx="1942910" cy="1659177"/>
            </a:xfrm>
          </p:grpSpPr>
          <p:sp>
            <p:nvSpPr>
              <p:cNvPr id="76" name="Rectangle 75"/>
              <p:cNvSpPr/>
              <p:nvPr/>
            </p:nvSpPr>
            <p:spPr>
              <a:xfrm>
                <a:off x="4599727" y="5424412"/>
                <a:ext cx="1942910" cy="523220"/>
              </a:xfrm>
              <a:prstGeom prst="rect">
                <a:avLst/>
              </a:prstGeom>
            </p:spPr>
            <p:txBody>
              <a:bodyPr wrap="square">
                <a:spAutoFit/>
              </a:bodyPr>
              <a:lstStyle/>
              <a:p>
                <a:pPr algn="ctr"/>
                <a:r>
                  <a:rPr lang="en-US" sz="1400" b="1" dirty="0">
                    <a:solidFill>
                      <a:prstClr val="white"/>
                    </a:solidFill>
                  </a:rPr>
                  <a:t>Elective Courses for Specialized Skills</a:t>
                </a:r>
              </a:p>
            </p:txBody>
          </p:sp>
          <p:sp>
            <p:nvSpPr>
              <p:cNvPr id="77" name="Rectangle 76"/>
              <p:cNvSpPr/>
              <p:nvPr/>
            </p:nvSpPr>
            <p:spPr>
              <a:xfrm>
                <a:off x="4640982" y="5893960"/>
                <a:ext cx="1860402" cy="769441"/>
              </a:xfrm>
              <a:prstGeom prst="rect">
                <a:avLst/>
              </a:prstGeom>
            </p:spPr>
            <p:txBody>
              <a:bodyPr wrap="square">
                <a:spAutoFit/>
              </a:bodyPr>
              <a:lstStyle/>
              <a:p>
                <a:pPr algn="ctr"/>
                <a:r>
                  <a:rPr lang="en-US" sz="1100" dirty="0">
                    <a:solidFill>
                      <a:prstClr val="white"/>
                    </a:solidFill>
                  </a:rPr>
                  <a:t>Elective offerings to build depth and breadth, based on role, individuals learning needs, or interests </a:t>
                </a:r>
              </a:p>
            </p:txBody>
          </p:sp>
          <p:grpSp>
            <p:nvGrpSpPr>
              <p:cNvPr id="78" name="Group 77"/>
              <p:cNvGrpSpPr/>
              <p:nvPr/>
            </p:nvGrpSpPr>
            <p:grpSpPr>
              <a:xfrm>
                <a:off x="5349469" y="5004224"/>
                <a:ext cx="443425" cy="443425"/>
                <a:chOff x="2521998" y="5802577"/>
                <a:chExt cx="443425" cy="443425"/>
              </a:xfrm>
            </p:grpSpPr>
            <p:sp>
              <p:nvSpPr>
                <p:cNvPr id="79" name="Oval 78"/>
                <p:cNvSpPr/>
                <p:nvPr/>
              </p:nvSpPr>
              <p:spPr>
                <a:xfrm rot="15256471">
                  <a:off x="2521998" y="5802577"/>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sp>
              <p:nvSpPr>
                <p:cNvPr id="80" name="Freeform 73"/>
                <p:cNvSpPr>
                  <a:spLocks noChangeAspect="1" noEditPoints="1"/>
                </p:cNvSpPr>
                <p:nvPr/>
              </p:nvSpPr>
              <p:spPr bwMode="auto">
                <a:xfrm rot="20008748">
                  <a:off x="2564325" y="5955438"/>
                  <a:ext cx="358771" cy="137703"/>
                </a:xfrm>
                <a:custGeom>
                  <a:avLst/>
                  <a:gdLst>
                    <a:gd name="T0" fmla="*/ 378 w 784"/>
                    <a:gd name="T1" fmla="*/ 149 h 292"/>
                    <a:gd name="T2" fmla="*/ 378 w 784"/>
                    <a:gd name="T3" fmla="*/ 149 h 292"/>
                    <a:gd name="T4" fmla="*/ 318 w 784"/>
                    <a:gd name="T5" fmla="*/ 88 h 292"/>
                    <a:gd name="T6" fmla="*/ 378 w 784"/>
                    <a:gd name="T7" fmla="*/ 28 h 292"/>
                    <a:gd name="T8" fmla="*/ 439 w 784"/>
                    <a:gd name="T9" fmla="*/ 88 h 292"/>
                    <a:gd name="T10" fmla="*/ 378 w 784"/>
                    <a:gd name="T11" fmla="*/ 149 h 292"/>
                    <a:gd name="T12" fmla="*/ 468 w 784"/>
                    <a:gd name="T13" fmla="*/ 88 h 292"/>
                    <a:gd name="T14" fmla="*/ 468 w 784"/>
                    <a:gd name="T15" fmla="*/ 88 h 292"/>
                    <a:gd name="T16" fmla="*/ 378 w 784"/>
                    <a:gd name="T17" fmla="*/ 0 h 292"/>
                    <a:gd name="T18" fmla="*/ 289 w 784"/>
                    <a:gd name="T19" fmla="*/ 88 h 292"/>
                    <a:gd name="T20" fmla="*/ 332 w 784"/>
                    <a:gd name="T21" fmla="*/ 165 h 292"/>
                    <a:gd name="T22" fmla="*/ 332 w 784"/>
                    <a:gd name="T23" fmla="*/ 292 h 292"/>
                    <a:gd name="T24" fmla="*/ 378 w 784"/>
                    <a:gd name="T25" fmla="*/ 245 h 292"/>
                    <a:gd name="T26" fmla="*/ 425 w 784"/>
                    <a:gd name="T27" fmla="*/ 292 h 292"/>
                    <a:gd name="T28" fmla="*/ 425 w 784"/>
                    <a:gd name="T29" fmla="*/ 165 h 292"/>
                    <a:gd name="T30" fmla="*/ 468 w 784"/>
                    <a:gd name="T31" fmla="*/ 88 h 292"/>
                    <a:gd name="T32" fmla="*/ 267 w 784"/>
                    <a:gd name="T33" fmla="*/ 88 h 292"/>
                    <a:gd name="T34" fmla="*/ 267 w 784"/>
                    <a:gd name="T35" fmla="*/ 88 h 292"/>
                    <a:gd name="T36" fmla="*/ 313 w 784"/>
                    <a:gd name="T37" fmla="*/ 5 h 292"/>
                    <a:gd name="T38" fmla="*/ 32 w 784"/>
                    <a:gd name="T39" fmla="*/ 5 h 292"/>
                    <a:gd name="T40" fmla="*/ 32 w 784"/>
                    <a:gd name="T41" fmla="*/ 5 h 292"/>
                    <a:gd name="T42" fmla="*/ 0 w 784"/>
                    <a:gd name="T43" fmla="*/ 90 h 292"/>
                    <a:gd name="T44" fmla="*/ 32 w 784"/>
                    <a:gd name="T45" fmla="*/ 175 h 292"/>
                    <a:gd name="T46" fmla="*/ 32 w 784"/>
                    <a:gd name="T47" fmla="*/ 175 h 292"/>
                    <a:gd name="T48" fmla="*/ 318 w 784"/>
                    <a:gd name="T49" fmla="*/ 175 h 292"/>
                    <a:gd name="T50" fmla="*/ 267 w 784"/>
                    <a:gd name="T51" fmla="*/ 88 h 292"/>
                    <a:gd name="T52" fmla="*/ 782 w 784"/>
                    <a:gd name="T53" fmla="*/ 66 h 292"/>
                    <a:gd name="T54" fmla="*/ 782 w 784"/>
                    <a:gd name="T55" fmla="*/ 66 h 292"/>
                    <a:gd name="T56" fmla="*/ 782 w 784"/>
                    <a:gd name="T57" fmla="*/ 65 h 292"/>
                    <a:gd name="T58" fmla="*/ 782 w 784"/>
                    <a:gd name="T59" fmla="*/ 63 h 292"/>
                    <a:gd name="T60" fmla="*/ 772 w 784"/>
                    <a:gd name="T61" fmla="*/ 31 h 292"/>
                    <a:gd name="T62" fmla="*/ 746 w 784"/>
                    <a:gd name="T63" fmla="*/ 8 h 292"/>
                    <a:gd name="T64" fmla="*/ 720 w 784"/>
                    <a:gd name="T65" fmla="*/ 31 h 292"/>
                    <a:gd name="T66" fmla="*/ 708 w 784"/>
                    <a:gd name="T67" fmla="*/ 90 h 292"/>
                    <a:gd name="T68" fmla="*/ 720 w 784"/>
                    <a:gd name="T69" fmla="*/ 149 h 292"/>
                    <a:gd name="T70" fmla="*/ 746 w 784"/>
                    <a:gd name="T71" fmla="*/ 172 h 292"/>
                    <a:gd name="T72" fmla="*/ 772 w 784"/>
                    <a:gd name="T73" fmla="*/ 149 h 292"/>
                    <a:gd name="T74" fmla="*/ 782 w 784"/>
                    <a:gd name="T75" fmla="*/ 117 h 292"/>
                    <a:gd name="T76" fmla="*/ 782 w 784"/>
                    <a:gd name="T77" fmla="*/ 114 h 292"/>
                    <a:gd name="T78" fmla="*/ 782 w 784"/>
                    <a:gd name="T79" fmla="*/ 113 h 292"/>
                    <a:gd name="T80" fmla="*/ 784 w 784"/>
                    <a:gd name="T81" fmla="*/ 90 h 292"/>
                    <a:gd name="T82" fmla="*/ 782 w 784"/>
                    <a:gd name="T83" fmla="*/ 66 h 292"/>
                    <a:gd name="T84" fmla="*/ 687 w 784"/>
                    <a:gd name="T85" fmla="*/ 90 h 292"/>
                    <a:gd name="T86" fmla="*/ 687 w 784"/>
                    <a:gd name="T87" fmla="*/ 90 h 292"/>
                    <a:gd name="T88" fmla="*/ 719 w 784"/>
                    <a:gd name="T89" fmla="*/ 5 h 292"/>
                    <a:gd name="T90" fmla="*/ 443 w 784"/>
                    <a:gd name="T91" fmla="*/ 5 h 292"/>
                    <a:gd name="T92" fmla="*/ 490 w 784"/>
                    <a:gd name="T93" fmla="*/ 88 h 292"/>
                    <a:gd name="T94" fmla="*/ 439 w 784"/>
                    <a:gd name="T95" fmla="*/ 175 h 292"/>
                    <a:gd name="T96" fmla="*/ 719 w 784"/>
                    <a:gd name="T97" fmla="*/ 175 h 292"/>
                    <a:gd name="T98" fmla="*/ 687 w 784"/>
                    <a:gd name="T99" fmla="*/ 9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4" h="292">
                      <a:moveTo>
                        <a:pt x="378" y="149"/>
                      </a:moveTo>
                      <a:lnTo>
                        <a:pt x="378" y="149"/>
                      </a:lnTo>
                      <a:cubicBezTo>
                        <a:pt x="345" y="149"/>
                        <a:pt x="318" y="122"/>
                        <a:pt x="318" y="88"/>
                      </a:cubicBezTo>
                      <a:cubicBezTo>
                        <a:pt x="318" y="55"/>
                        <a:pt x="345" y="28"/>
                        <a:pt x="378" y="28"/>
                      </a:cubicBezTo>
                      <a:cubicBezTo>
                        <a:pt x="412" y="28"/>
                        <a:pt x="439" y="55"/>
                        <a:pt x="439" y="88"/>
                      </a:cubicBezTo>
                      <a:cubicBezTo>
                        <a:pt x="439" y="122"/>
                        <a:pt x="412" y="149"/>
                        <a:pt x="378" y="149"/>
                      </a:cubicBezTo>
                      <a:close/>
                      <a:moveTo>
                        <a:pt x="468" y="88"/>
                      </a:moveTo>
                      <a:lnTo>
                        <a:pt x="468" y="88"/>
                      </a:lnTo>
                      <a:cubicBezTo>
                        <a:pt x="468" y="39"/>
                        <a:pt x="428" y="0"/>
                        <a:pt x="378" y="0"/>
                      </a:cubicBezTo>
                      <a:cubicBezTo>
                        <a:pt x="329" y="0"/>
                        <a:pt x="289" y="39"/>
                        <a:pt x="289" y="88"/>
                      </a:cubicBezTo>
                      <a:cubicBezTo>
                        <a:pt x="289" y="121"/>
                        <a:pt x="306" y="149"/>
                        <a:pt x="332" y="165"/>
                      </a:cubicBezTo>
                      <a:lnTo>
                        <a:pt x="332" y="292"/>
                      </a:lnTo>
                      <a:lnTo>
                        <a:pt x="378" y="245"/>
                      </a:lnTo>
                      <a:lnTo>
                        <a:pt x="425" y="292"/>
                      </a:lnTo>
                      <a:lnTo>
                        <a:pt x="425" y="165"/>
                      </a:lnTo>
                      <a:cubicBezTo>
                        <a:pt x="451" y="149"/>
                        <a:pt x="468" y="121"/>
                        <a:pt x="468" y="88"/>
                      </a:cubicBezTo>
                      <a:close/>
                      <a:moveTo>
                        <a:pt x="267" y="88"/>
                      </a:moveTo>
                      <a:lnTo>
                        <a:pt x="267" y="88"/>
                      </a:lnTo>
                      <a:cubicBezTo>
                        <a:pt x="267" y="53"/>
                        <a:pt x="285" y="22"/>
                        <a:pt x="313" y="5"/>
                      </a:cubicBezTo>
                      <a:lnTo>
                        <a:pt x="32" y="5"/>
                      </a:lnTo>
                      <a:lnTo>
                        <a:pt x="32" y="5"/>
                      </a:lnTo>
                      <a:cubicBezTo>
                        <a:pt x="14" y="8"/>
                        <a:pt x="0" y="45"/>
                        <a:pt x="0" y="90"/>
                      </a:cubicBezTo>
                      <a:cubicBezTo>
                        <a:pt x="0" y="135"/>
                        <a:pt x="14" y="172"/>
                        <a:pt x="32" y="175"/>
                      </a:cubicBezTo>
                      <a:lnTo>
                        <a:pt x="32" y="175"/>
                      </a:lnTo>
                      <a:lnTo>
                        <a:pt x="318" y="175"/>
                      </a:lnTo>
                      <a:cubicBezTo>
                        <a:pt x="287" y="158"/>
                        <a:pt x="267" y="126"/>
                        <a:pt x="267" y="88"/>
                      </a:cubicBezTo>
                      <a:close/>
                      <a:moveTo>
                        <a:pt x="782" y="66"/>
                      </a:moveTo>
                      <a:lnTo>
                        <a:pt x="782" y="66"/>
                      </a:lnTo>
                      <a:cubicBezTo>
                        <a:pt x="782" y="66"/>
                        <a:pt x="782" y="66"/>
                        <a:pt x="782" y="65"/>
                      </a:cubicBezTo>
                      <a:cubicBezTo>
                        <a:pt x="782" y="64"/>
                        <a:pt x="782" y="64"/>
                        <a:pt x="782" y="63"/>
                      </a:cubicBezTo>
                      <a:cubicBezTo>
                        <a:pt x="779" y="51"/>
                        <a:pt x="776" y="40"/>
                        <a:pt x="772" y="31"/>
                      </a:cubicBezTo>
                      <a:cubicBezTo>
                        <a:pt x="765" y="16"/>
                        <a:pt x="755" y="8"/>
                        <a:pt x="746" y="8"/>
                      </a:cubicBezTo>
                      <a:cubicBezTo>
                        <a:pt x="737" y="8"/>
                        <a:pt x="727" y="16"/>
                        <a:pt x="720" y="31"/>
                      </a:cubicBezTo>
                      <a:cubicBezTo>
                        <a:pt x="713" y="46"/>
                        <a:pt x="708" y="67"/>
                        <a:pt x="708" y="90"/>
                      </a:cubicBezTo>
                      <a:cubicBezTo>
                        <a:pt x="708" y="113"/>
                        <a:pt x="713" y="134"/>
                        <a:pt x="720" y="149"/>
                      </a:cubicBezTo>
                      <a:cubicBezTo>
                        <a:pt x="727" y="164"/>
                        <a:pt x="737" y="172"/>
                        <a:pt x="746" y="172"/>
                      </a:cubicBezTo>
                      <a:cubicBezTo>
                        <a:pt x="755" y="172"/>
                        <a:pt x="765" y="164"/>
                        <a:pt x="772" y="149"/>
                      </a:cubicBezTo>
                      <a:cubicBezTo>
                        <a:pt x="776" y="140"/>
                        <a:pt x="780" y="129"/>
                        <a:pt x="782" y="117"/>
                      </a:cubicBezTo>
                      <a:cubicBezTo>
                        <a:pt x="782" y="116"/>
                        <a:pt x="782" y="115"/>
                        <a:pt x="782" y="114"/>
                      </a:cubicBezTo>
                      <a:cubicBezTo>
                        <a:pt x="782" y="114"/>
                        <a:pt x="782" y="114"/>
                        <a:pt x="782" y="113"/>
                      </a:cubicBezTo>
                      <a:cubicBezTo>
                        <a:pt x="783" y="106"/>
                        <a:pt x="784" y="98"/>
                        <a:pt x="784" y="90"/>
                      </a:cubicBezTo>
                      <a:cubicBezTo>
                        <a:pt x="784" y="82"/>
                        <a:pt x="783" y="74"/>
                        <a:pt x="782" y="66"/>
                      </a:cubicBezTo>
                      <a:close/>
                      <a:moveTo>
                        <a:pt x="687" y="90"/>
                      </a:moveTo>
                      <a:lnTo>
                        <a:pt x="687" y="90"/>
                      </a:lnTo>
                      <a:cubicBezTo>
                        <a:pt x="687" y="50"/>
                        <a:pt x="699" y="15"/>
                        <a:pt x="719" y="5"/>
                      </a:cubicBezTo>
                      <a:lnTo>
                        <a:pt x="443" y="5"/>
                      </a:lnTo>
                      <a:cubicBezTo>
                        <a:pt x="471" y="22"/>
                        <a:pt x="490" y="53"/>
                        <a:pt x="490" y="88"/>
                      </a:cubicBezTo>
                      <a:cubicBezTo>
                        <a:pt x="490" y="126"/>
                        <a:pt x="469" y="158"/>
                        <a:pt x="439" y="175"/>
                      </a:cubicBezTo>
                      <a:lnTo>
                        <a:pt x="719" y="175"/>
                      </a:lnTo>
                      <a:cubicBezTo>
                        <a:pt x="699" y="164"/>
                        <a:pt x="687" y="130"/>
                        <a:pt x="687" y="9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81" name="Group 80"/>
            <p:cNvGrpSpPr/>
            <p:nvPr/>
          </p:nvGrpSpPr>
          <p:grpSpPr>
            <a:xfrm>
              <a:off x="6639346" y="4659016"/>
              <a:ext cx="2053812" cy="1660572"/>
              <a:chOff x="6639346" y="4659016"/>
              <a:chExt cx="2053812" cy="1660572"/>
            </a:xfrm>
          </p:grpSpPr>
          <p:sp>
            <p:nvSpPr>
              <p:cNvPr id="82" name="Rectangle 81"/>
              <p:cNvSpPr/>
              <p:nvPr/>
            </p:nvSpPr>
            <p:spPr>
              <a:xfrm>
                <a:off x="6736055" y="5080599"/>
                <a:ext cx="1860394" cy="523220"/>
              </a:xfrm>
              <a:prstGeom prst="rect">
                <a:avLst/>
              </a:prstGeom>
            </p:spPr>
            <p:txBody>
              <a:bodyPr wrap="square">
                <a:spAutoFit/>
              </a:bodyPr>
              <a:lstStyle/>
              <a:p>
                <a:pPr algn="ctr"/>
                <a:r>
                  <a:rPr lang="en-US" sz="1400" b="1" dirty="0">
                    <a:solidFill>
                      <a:prstClr val="white"/>
                    </a:solidFill>
                  </a:rPr>
                  <a:t>OTJ Experience &amp; Exposure</a:t>
                </a:r>
              </a:p>
            </p:txBody>
          </p:sp>
          <p:sp>
            <p:nvSpPr>
              <p:cNvPr id="83" name="Rectangle 82"/>
              <p:cNvSpPr/>
              <p:nvPr/>
            </p:nvSpPr>
            <p:spPr>
              <a:xfrm>
                <a:off x="6639346" y="5550147"/>
                <a:ext cx="2053812" cy="769441"/>
              </a:xfrm>
              <a:prstGeom prst="rect">
                <a:avLst/>
              </a:prstGeom>
            </p:spPr>
            <p:txBody>
              <a:bodyPr wrap="square">
                <a:spAutoFit/>
              </a:bodyPr>
              <a:lstStyle/>
              <a:p>
                <a:pPr algn="ctr"/>
                <a:r>
                  <a:rPr lang="en-US" sz="1100" dirty="0">
                    <a:solidFill>
                      <a:prstClr val="white"/>
                    </a:solidFill>
                  </a:rPr>
                  <a:t>Level-specific guidance and support for getting the most from on-the-job learning opportunities and networks</a:t>
                </a:r>
              </a:p>
            </p:txBody>
          </p:sp>
          <p:grpSp>
            <p:nvGrpSpPr>
              <p:cNvPr id="84" name="Group 83"/>
              <p:cNvGrpSpPr/>
              <p:nvPr/>
            </p:nvGrpSpPr>
            <p:grpSpPr>
              <a:xfrm>
                <a:off x="7441430" y="4659016"/>
                <a:ext cx="443425" cy="443425"/>
                <a:chOff x="3057158" y="5494662"/>
                <a:chExt cx="443425" cy="443425"/>
              </a:xfrm>
            </p:grpSpPr>
            <p:sp>
              <p:nvSpPr>
                <p:cNvPr id="85" name="Oval 84"/>
                <p:cNvSpPr/>
                <p:nvPr/>
              </p:nvSpPr>
              <p:spPr>
                <a:xfrm rot="15256471">
                  <a:off x="3057158" y="5494662"/>
                  <a:ext cx="443425" cy="443425"/>
                </a:xfrm>
                <a:prstGeom prst="ellipse">
                  <a:avLst/>
                </a:prstGeom>
                <a:noFill/>
                <a:ln w="28575" cap="flat" cmpd="sng" algn="ctr">
                  <a:solidFill>
                    <a:schemeClr val="bg1"/>
                  </a:solidFill>
                  <a:prstDash val="solid"/>
                </a:ln>
                <a:effectLst/>
              </p:spPr>
              <p:txBody>
                <a:bodyPr rtlCol="0" anchor="ctr"/>
                <a:lstStyle/>
                <a:p>
                  <a:pPr algn="ctr">
                    <a:defRPr/>
                  </a:pPr>
                  <a:endParaRPr lang="en-US" sz="2000" kern="0" dirty="0">
                    <a:solidFill>
                      <a:srgbClr val="FFFFFF"/>
                    </a:solidFill>
                  </a:endParaRPr>
                </a:p>
              </p:txBody>
            </p:sp>
            <p:sp>
              <p:nvSpPr>
                <p:cNvPr id="86" name="Freeform 83"/>
                <p:cNvSpPr>
                  <a:spLocks noChangeAspect="1" noEditPoints="1"/>
                </p:cNvSpPr>
                <p:nvPr/>
              </p:nvSpPr>
              <p:spPr bwMode="auto">
                <a:xfrm flipV="1">
                  <a:off x="3141710" y="5589537"/>
                  <a:ext cx="274320" cy="253675"/>
                </a:xfrm>
                <a:custGeom>
                  <a:avLst/>
                  <a:gdLst>
                    <a:gd name="T0" fmla="*/ 37 w 150"/>
                    <a:gd name="T1" fmla="*/ 50 h 150"/>
                    <a:gd name="T2" fmla="*/ 41 w 150"/>
                    <a:gd name="T3" fmla="*/ 51 h 150"/>
                    <a:gd name="T4" fmla="*/ 60 w 150"/>
                    <a:gd name="T5" fmla="*/ 34 h 150"/>
                    <a:gd name="T6" fmla="*/ 59 w 150"/>
                    <a:gd name="T7" fmla="*/ 30 h 150"/>
                    <a:gd name="T8" fmla="*/ 60 w 150"/>
                    <a:gd name="T9" fmla="*/ 25 h 150"/>
                    <a:gd name="T10" fmla="*/ 36 w 150"/>
                    <a:gd name="T11" fmla="*/ 12 h 150"/>
                    <a:gd name="T12" fmla="*/ 15 w 150"/>
                    <a:gd name="T13" fmla="*/ 31 h 150"/>
                    <a:gd name="T14" fmla="*/ 30 w 150"/>
                    <a:gd name="T15" fmla="*/ 52 h 150"/>
                    <a:gd name="T16" fmla="*/ 37 w 150"/>
                    <a:gd name="T17" fmla="*/ 50 h 150"/>
                    <a:gd name="T18" fmla="*/ 21 w 150"/>
                    <a:gd name="T19" fmla="*/ 66 h 150"/>
                    <a:gd name="T20" fmla="*/ 22 w 150"/>
                    <a:gd name="T21" fmla="*/ 60 h 150"/>
                    <a:gd name="T22" fmla="*/ 8 w 150"/>
                    <a:gd name="T23" fmla="*/ 42 h 150"/>
                    <a:gd name="T24" fmla="*/ 0 w 150"/>
                    <a:gd name="T25" fmla="*/ 75 h 150"/>
                    <a:gd name="T26" fmla="*/ 11 w 150"/>
                    <a:gd name="T27" fmla="*/ 114 h 150"/>
                    <a:gd name="T28" fmla="*/ 24 w 150"/>
                    <a:gd name="T29" fmla="*/ 76 h 150"/>
                    <a:gd name="T30" fmla="*/ 21 w 150"/>
                    <a:gd name="T31" fmla="*/ 66 h 150"/>
                    <a:gd name="T32" fmla="*/ 75 w 150"/>
                    <a:gd name="T33" fmla="*/ 14 h 150"/>
                    <a:gd name="T34" fmla="*/ 86 w 150"/>
                    <a:gd name="T35" fmla="*/ 18 h 150"/>
                    <a:gd name="T36" fmla="*/ 113 w 150"/>
                    <a:gd name="T37" fmla="*/ 10 h 150"/>
                    <a:gd name="T38" fmla="*/ 75 w 150"/>
                    <a:gd name="T39" fmla="*/ 0 h 150"/>
                    <a:gd name="T40" fmla="*/ 49 w 150"/>
                    <a:gd name="T41" fmla="*/ 5 h 150"/>
                    <a:gd name="T42" fmla="*/ 67 w 150"/>
                    <a:gd name="T43" fmla="*/ 16 h 150"/>
                    <a:gd name="T44" fmla="*/ 75 w 150"/>
                    <a:gd name="T45" fmla="*/ 14 h 150"/>
                    <a:gd name="T46" fmla="*/ 99 w 150"/>
                    <a:gd name="T47" fmla="*/ 89 h 150"/>
                    <a:gd name="T48" fmla="*/ 103 w 150"/>
                    <a:gd name="T49" fmla="*/ 84 h 150"/>
                    <a:gd name="T50" fmla="*/ 82 w 150"/>
                    <a:gd name="T51" fmla="*/ 45 h 150"/>
                    <a:gd name="T52" fmla="*/ 75 w 150"/>
                    <a:gd name="T53" fmla="*/ 46 h 150"/>
                    <a:gd name="T54" fmla="*/ 66 w 150"/>
                    <a:gd name="T55" fmla="*/ 43 h 150"/>
                    <a:gd name="T56" fmla="*/ 50 w 150"/>
                    <a:gd name="T57" fmla="*/ 58 h 150"/>
                    <a:gd name="T58" fmla="*/ 53 w 150"/>
                    <a:gd name="T59" fmla="*/ 66 h 150"/>
                    <a:gd name="T60" fmla="*/ 52 w 150"/>
                    <a:gd name="T61" fmla="*/ 71 h 150"/>
                    <a:gd name="T62" fmla="*/ 99 w 150"/>
                    <a:gd name="T63" fmla="*/ 89 h 150"/>
                    <a:gd name="T64" fmla="*/ 120 w 150"/>
                    <a:gd name="T65" fmla="*/ 111 h 150"/>
                    <a:gd name="T66" fmla="*/ 120 w 150"/>
                    <a:gd name="T67" fmla="*/ 120 h 150"/>
                    <a:gd name="T68" fmla="*/ 119 w 150"/>
                    <a:gd name="T69" fmla="*/ 136 h 150"/>
                    <a:gd name="T70" fmla="*/ 147 w 150"/>
                    <a:gd name="T71" fmla="*/ 98 h 150"/>
                    <a:gd name="T72" fmla="*/ 129 w 150"/>
                    <a:gd name="T73" fmla="*/ 101 h 150"/>
                    <a:gd name="T74" fmla="*/ 120 w 150"/>
                    <a:gd name="T75" fmla="*/ 111 h 150"/>
                    <a:gd name="T76" fmla="*/ 96 w 150"/>
                    <a:gd name="T77" fmla="*/ 100 h 150"/>
                    <a:gd name="T78" fmla="*/ 45 w 150"/>
                    <a:gd name="T79" fmla="*/ 80 h 150"/>
                    <a:gd name="T80" fmla="*/ 37 w 150"/>
                    <a:gd name="T81" fmla="*/ 82 h 150"/>
                    <a:gd name="T82" fmla="*/ 33 w 150"/>
                    <a:gd name="T83" fmla="*/ 82 h 150"/>
                    <a:gd name="T84" fmla="*/ 20 w 150"/>
                    <a:gd name="T85" fmla="*/ 127 h 150"/>
                    <a:gd name="T86" fmla="*/ 46 w 150"/>
                    <a:gd name="T87" fmla="*/ 145 h 150"/>
                    <a:gd name="T88" fmla="*/ 96 w 150"/>
                    <a:gd name="T89" fmla="*/ 100 h 150"/>
                    <a:gd name="T90" fmla="*/ 126 w 150"/>
                    <a:gd name="T91" fmla="*/ 20 h 150"/>
                    <a:gd name="T92" fmla="*/ 91 w 150"/>
                    <a:gd name="T93" fmla="*/ 28 h 150"/>
                    <a:gd name="T94" fmla="*/ 91 w 150"/>
                    <a:gd name="T95" fmla="*/ 30 h 150"/>
                    <a:gd name="T96" fmla="*/ 90 w 150"/>
                    <a:gd name="T97" fmla="*/ 37 h 150"/>
                    <a:gd name="T98" fmla="*/ 114 w 150"/>
                    <a:gd name="T99" fmla="*/ 80 h 150"/>
                    <a:gd name="T100" fmla="*/ 128 w 150"/>
                    <a:gd name="T101" fmla="*/ 90 h 150"/>
                    <a:gd name="T102" fmla="*/ 149 w 150"/>
                    <a:gd name="T103" fmla="*/ 86 h 150"/>
                    <a:gd name="T104" fmla="*/ 150 w 150"/>
                    <a:gd name="T105" fmla="*/ 75 h 150"/>
                    <a:gd name="T106" fmla="*/ 126 w 150"/>
                    <a:gd name="T107" fmla="*/ 20 h 150"/>
                    <a:gd name="T108" fmla="*/ 104 w 150"/>
                    <a:gd name="T109" fmla="*/ 109 h 150"/>
                    <a:gd name="T110" fmla="*/ 57 w 150"/>
                    <a:gd name="T111" fmla="*/ 148 h 150"/>
                    <a:gd name="T112" fmla="*/ 75 w 150"/>
                    <a:gd name="T113" fmla="*/ 150 h 150"/>
                    <a:gd name="T114" fmla="*/ 107 w 150"/>
                    <a:gd name="T115" fmla="*/ 143 h 150"/>
                    <a:gd name="T116" fmla="*/ 109 w 150"/>
                    <a:gd name="T117" fmla="*/ 120 h 150"/>
                    <a:gd name="T118" fmla="*/ 109 w 150"/>
                    <a:gd name="T119" fmla="*/ 111 h 150"/>
                    <a:gd name="T120" fmla="*/ 104 w 150"/>
                    <a:gd name="T121" fmla="*/ 10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50">
                      <a:moveTo>
                        <a:pt x="37" y="50"/>
                      </a:moveTo>
                      <a:cubicBezTo>
                        <a:pt x="38" y="50"/>
                        <a:pt x="40" y="50"/>
                        <a:pt x="41" y="51"/>
                      </a:cubicBezTo>
                      <a:cubicBezTo>
                        <a:pt x="47" y="45"/>
                        <a:pt x="53" y="39"/>
                        <a:pt x="60" y="34"/>
                      </a:cubicBezTo>
                      <a:cubicBezTo>
                        <a:pt x="60" y="33"/>
                        <a:pt x="59" y="31"/>
                        <a:pt x="59" y="30"/>
                      </a:cubicBezTo>
                      <a:cubicBezTo>
                        <a:pt x="59" y="28"/>
                        <a:pt x="60" y="27"/>
                        <a:pt x="60" y="25"/>
                      </a:cubicBezTo>
                      <a:cubicBezTo>
                        <a:pt x="53" y="20"/>
                        <a:pt x="45" y="15"/>
                        <a:pt x="36" y="12"/>
                      </a:cubicBezTo>
                      <a:cubicBezTo>
                        <a:pt x="28" y="17"/>
                        <a:pt x="20" y="23"/>
                        <a:pt x="15" y="31"/>
                      </a:cubicBezTo>
                      <a:cubicBezTo>
                        <a:pt x="19" y="38"/>
                        <a:pt x="24" y="45"/>
                        <a:pt x="30" y="52"/>
                      </a:cubicBezTo>
                      <a:cubicBezTo>
                        <a:pt x="32" y="51"/>
                        <a:pt x="34" y="50"/>
                        <a:pt x="37" y="50"/>
                      </a:cubicBezTo>
                      <a:close/>
                      <a:moveTo>
                        <a:pt x="21" y="66"/>
                      </a:moveTo>
                      <a:cubicBezTo>
                        <a:pt x="21" y="64"/>
                        <a:pt x="21" y="62"/>
                        <a:pt x="22" y="60"/>
                      </a:cubicBezTo>
                      <a:cubicBezTo>
                        <a:pt x="17" y="54"/>
                        <a:pt x="12" y="48"/>
                        <a:pt x="8" y="42"/>
                      </a:cubicBezTo>
                      <a:cubicBezTo>
                        <a:pt x="3" y="52"/>
                        <a:pt x="0" y="63"/>
                        <a:pt x="0" y="75"/>
                      </a:cubicBezTo>
                      <a:cubicBezTo>
                        <a:pt x="0" y="89"/>
                        <a:pt x="4" y="103"/>
                        <a:pt x="11" y="114"/>
                      </a:cubicBezTo>
                      <a:cubicBezTo>
                        <a:pt x="13" y="100"/>
                        <a:pt x="18" y="88"/>
                        <a:pt x="24" y="76"/>
                      </a:cubicBezTo>
                      <a:cubicBezTo>
                        <a:pt x="22" y="73"/>
                        <a:pt x="21" y="70"/>
                        <a:pt x="21" y="66"/>
                      </a:cubicBezTo>
                      <a:close/>
                      <a:moveTo>
                        <a:pt x="75" y="14"/>
                      </a:moveTo>
                      <a:cubicBezTo>
                        <a:pt x="80" y="14"/>
                        <a:pt x="83" y="16"/>
                        <a:pt x="86" y="18"/>
                      </a:cubicBezTo>
                      <a:cubicBezTo>
                        <a:pt x="95" y="15"/>
                        <a:pt x="103" y="12"/>
                        <a:pt x="113" y="10"/>
                      </a:cubicBezTo>
                      <a:cubicBezTo>
                        <a:pt x="102" y="4"/>
                        <a:pt x="89" y="0"/>
                        <a:pt x="75" y="0"/>
                      </a:cubicBezTo>
                      <a:cubicBezTo>
                        <a:pt x="66" y="0"/>
                        <a:pt x="57" y="2"/>
                        <a:pt x="49" y="5"/>
                      </a:cubicBezTo>
                      <a:cubicBezTo>
                        <a:pt x="55" y="8"/>
                        <a:pt x="61" y="12"/>
                        <a:pt x="67" y="16"/>
                      </a:cubicBezTo>
                      <a:cubicBezTo>
                        <a:pt x="70" y="15"/>
                        <a:pt x="72" y="14"/>
                        <a:pt x="75" y="14"/>
                      </a:cubicBezTo>
                      <a:close/>
                      <a:moveTo>
                        <a:pt x="99" y="89"/>
                      </a:moveTo>
                      <a:cubicBezTo>
                        <a:pt x="100" y="87"/>
                        <a:pt x="102" y="85"/>
                        <a:pt x="103" y="84"/>
                      </a:cubicBezTo>
                      <a:cubicBezTo>
                        <a:pt x="99" y="69"/>
                        <a:pt x="91" y="56"/>
                        <a:pt x="82" y="45"/>
                      </a:cubicBezTo>
                      <a:cubicBezTo>
                        <a:pt x="80" y="46"/>
                        <a:pt x="78" y="46"/>
                        <a:pt x="75" y="46"/>
                      </a:cubicBezTo>
                      <a:cubicBezTo>
                        <a:pt x="72" y="46"/>
                        <a:pt x="69" y="45"/>
                        <a:pt x="66" y="43"/>
                      </a:cubicBezTo>
                      <a:cubicBezTo>
                        <a:pt x="60" y="47"/>
                        <a:pt x="55" y="52"/>
                        <a:pt x="50" y="58"/>
                      </a:cubicBezTo>
                      <a:cubicBezTo>
                        <a:pt x="52" y="60"/>
                        <a:pt x="53" y="63"/>
                        <a:pt x="53" y="66"/>
                      </a:cubicBezTo>
                      <a:cubicBezTo>
                        <a:pt x="53" y="68"/>
                        <a:pt x="52" y="69"/>
                        <a:pt x="52" y="71"/>
                      </a:cubicBezTo>
                      <a:cubicBezTo>
                        <a:pt x="66" y="80"/>
                        <a:pt x="82" y="87"/>
                        <a:pt x="99" y="89"/>
                      </a:cubicBezTo>
                      <a:close/>
                      <a:moveTo>
                        <a:pt x="120" y="111"/>
                      </a:moveTo>
                      <a:cubicBezTo>
                        <a:pt x="120" y="114"/>
                        <a:pt x="120" y="117"/>
                        <a:pt x="120" y="120"/>
                      </a:cubicBezTo>
                      <a:cubicBezTo>
                        <a:pt x="120" y="125"/>
                        <a:pt x="120" y="131"/>
                        <a:pt x="119" y="136"/>
                      </a:cubicBezTo>
                      <a:cubicBezTo>
                        <a:pt x="132" y="127"/>
                        <a:pt x="142" y="114"/>
                        <a:pt x="147" y="98"/>
                      </a:cubicBezTo>
                      <a:cubicBezTo>
                        <a:pt x="141" y="100"/>
                        <a:pt x="135" y="101"/>
                        <a:pt x="129" y="101"/>
                      </a:cubicBezTo>
                      <a:cubicBezTo>
                        <a:pt x="127" y="106"/>
                        <a:pt x="124" y="109"/>
                        <a:pt x="120" y="111"/>
                      </a:cubicBezTo>
                      <a:close/>
                      <a:moveTo>
                        <a:pt x="96" y="100"/>
                      </a:moveTo>
                      <a:cubicBezTo>
                        <a:pt x="77" y="97"/>
                        <a:pt x="60" y="90"/>
                        <a:pt x="45" y="80"/>
                      </a:cubicBezTo>
                      <a:cubicBezTo>
                        <a:pt x="43" y="81"/>
                        <a:pt x="40" y="82"/>
                        <a:pt x="37" y="82"/>
                      </a:cubicBezTo>
                      <a:cubicBezTo>
                        <a:pt x="35" y="82"/>
                        <a:pt x="34" y="82"/>
                        <a:pt x="33" y="82"/>
                      </a:cubicBezTo>
                      <a:cubicBezTo>
                        <a:pt x="26" y="95"/>
                        <a:pt x="22" y="111"/>
                        <a:pt x="20" y="127"/>
                      </a:cubicBezTo>
                      <a:cubicBezTo>
                        <a:pt x="27" y="134"/>
                        <a:pt x="36" y="140"/>
                        <a:pt x="46" y="145"/>
                      </a:cubicBezTo>
                      <a:cubicBezTo>
                        <a:pt x="58" y="126"/>
                        <a:pt x="75" y="110"/>
                        <a:pt x="96" y="100"/>
                      </a:cubicBezTo>
                      <a:close/>
                      <a:moveTo>
                        <a:pt x="126" y="20"/>
                      </a:moveTo>
                      <a:cubicBezTo>
                        <a:pt x="114" y="21"/>
                        <a:pt x="102" y="24"/>
                        <a:pt x="91" y="28"/>
                      </a:cubicBezTo>
                      <a:cubicBezTo>
                        <a:pt x="91" y="29"/>
                        <a:pt x="91" y="30"/>
                        <a:pt x="91" y="30"/>
                      </a:cubicBezTo>
                      <a:cubicBezTo>
                        <a:pt x="91" y="33"/>
                        <a:pt x="91" y="35"/>
                        <a:pt x="90" y="37"/>
                      </a:cubicBezTo>
                      <a:cubicBezTo>
                        <a:pt x="100" y="50"/>
                        <a:pt x="109" y="64"/>
                        <a:pt x="114" y="80"/>
                      </a:cubicBezTo>
                      <a:cubicBezTo>
                        <a:pt x="120" y="80"/>
                        <a:pt x="126" y="84"/>
                        <a:pt x="128" y="90"/>
                      </a:cubicBezTo>
                      <a:cubicBezTo>
                        <a:pt x="136" y="89"/>
                        <a:pt x="143" y="88"/>
                        <a:pt x="149" y="86"/>
                      </a:cubicBezTo>
                      <a:cubicBezTo>
                        <a:pt x="150" y="82"/>
                        <a:pt x="150" y="79"/>
                        <a:pt x="150" y="75"/>
                      </a:cubicBezTo>
                      <a:cubicBezTo>
                        <a:pt x="150" y="53"/>
                        <a:pt x="141" y="34"/>
                        <a:pt x="126" y="20"/>
                      </a:cubicBezTo>
                      <a:close/>
                      <a:moveTo>
                        <a:pt x="104" y="109"/>
                      </a:moveTo>
                      <a:cubicBezTo>
                        <a:pt x="84" y="118"/>
                        <a:pt x="69" y="131"/>
                        <a:pt x="57" y="148"/>
                      </a:cubicBezTo>
                      <a:cubicBezTo>
                        <a:pt x="63" y="150"/>
                        <a:pt x="69" y="150"/>
                        <a:pt x="75" y="150"/>
                      </a:cubicBezTo>
                      <a:cubicBezTo>
                        <a:pt x="86" y="150"/>
                        <a:pt x="97" y="148"/>
                        <a:pt x="107" y="143"/>
                      </a:cubicBezTo>
                      <a:cubicBezTo>
                        <a:pt x="108" y="136"/>
                        <a:pt x="109" y="128"/>
                        <a:pt x="109" y="120"/>
                      </a:cubicBezTo>
                      <a:cubicBezTo>
                        <a:pt x="109" y="117"/>
                        <a:pt x="109" y="114"/>
                        <a:pt x="109" y="111"/>
                      </a:cubicBezTo>
                      <a:cubicBezTo>
                        <a:pt x="107" y="111"/>
                        <a:pt x="105" y="110"/>
                        <a:pt x="104" y="1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grpSp>
    </p:spTree>
    <p:extLst>
      <p:ext uri="{BB962C8B-B14F-4D97-AF65-F5344CB8AC3E}">
        <p14:creationId xmlns:p14="http://schemas.microsoft.com/office/powerpoint/2010/main" val="190842704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7_US Consulting Report Template_R1.5V_043008">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27_US Consulting Report Template_R1.5V_043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7_US Consulting Report Template_R1.5V_0430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US Consulting Report Template_R1.5V_0430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US Consulting Report Template_R1.5V_0430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US Consulting Report Template_R1.5V_0430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US Consulting Report Template_R1.5V_0430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US Consulting Report Template_R1.5V_0430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US Consulting Report Template_R1.5V_0430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7_US Consulting Report Template_R1.5V_0430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27_US Consulting Report Template_R1.5V_0430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27_US Consulting Report Template_R1.5V_0430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27_US Consulting Report Template_R1.5V_0430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7_US Consulting Report Template_R1.5V_0430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7_US Consulting Report Template_R1.5V_0430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27_US Consulting Report Template_R1.5V_0430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27_US Consulting Report Template_R1.5V_0430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27_US Consulting Report Template_R1.5V_0430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alent_ On screen slides 20120601">
  <a:themeElements>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18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8_US Consulting Report Template_R1.5V_043008">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27_US Consulting Report Template_R1.5V_043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7_US Consulting Report Template_R1.5V_0430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7_US Consulting Report Template_R1.5V_0430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7_US Consulting Report Template_R1.5V_0430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7_US Consulting Report Template_R1.5V_0430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7_US Consulting Report Template_R1.5V_0430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7_US Consulting Report Template_R1.5V_0430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7_US Consulting Report Template_R1.5V_0430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7_US Consulting Report Template_R1.5V_0430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27_US Consulting Report Template_R1.5V_0430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27_US Consulting Report Template_R1.5V_0430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27_US Consulting Report Template_R1.5V_0430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7_US Consulting Report Template_R1.5V_0430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27_US Consulting Report Template_R1.5V_0430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27_US Consulting Report Template_R1.5V_0430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27_US Consulting Report Template_R1.5V_0430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27_US Consulting Report Template_R1.5V_0430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1_US Consulting On-screen M WHT_R1.5V_0310">
  <a:themeElements>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S WHT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4066B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231775" marR="0" indent="-231775" algn="l" defTabSz="914400" rtl="0" eaLnBrk="1" fontAlgn="base" latinLnBrk="0" hangingPunct="1">
          <a:lnSpc>
            <a:spcPct val="106000"/>
          </a:lnSpc>
          <a:spcBef>
            <a:spcPct val="0"/>
          </a:spcBef>
          <a:spcAft>
            <a:spcPct val="0"/>
          </a:spcAft>
          <a:buClrTx/>
          <a:buSzTx/>
          <a:buFont typeface="Wingdings 2" pitchFamily="18" charset="2"/>
          <a:buNone/>
          <a:tabLst/>
          <a:defRPr kumimoji="0" lang="en-US" sz="2400" b="0" i="0" u="none" strike="noStrike" cap="none" normalizeH="0" baseline="0" smtClean="0">
            <a:ln>
              <a:noFill/>
            </a:ln>
            <a:solidFill>
              <a:schemeClr val="tx1"/>
            </a:solidFill>
            <a:effectLst/>
            <a:latin typeface="Arial" charset="0"/>
          </a:defRPr>
        </a:defPPr>
      </a:lstStyle>
    </a:lnDef>
    <a:txDef>
      <a:spPr bwMode="auto"/>
      <a:bodyPr/>
      <a:lstStyle>
        <a:defPPr marL="227013" indent="-225425" algn="l" rtl="0" fontAlgn="base">
          <a:lnSpc>
            <a:spcPct val="106000"/>
          </a:lnSpc>
          <a:spcBef>
            <a:spcPct val="40000"/>
          </a:spcBef>
          <a:spcAft>
            <a:spcPct val="0"/>
          </a:spcAft>
          <a:buClr>
            <a:srgbClr val="000000"/>
          </a:buClr>
          <a:buFont typeface="Wingdings 2" pitchFamily="18" charset="2"/>
          <a:buChar char="¡"/>
          <a:defRPr sz="2000" dirty="0">
            <a:solidFill>
              <a:srgbClr val="000000"/>
            </a:solidFill>
            <a:latin typeface="Arial" charset="0"/>
            <a:ea typeface="+mn-ea"/>
            <a:cs typeface="Arial" charset="0"/>
          </a:defRPr>
        </a:defPPr>
      </a:lstStyle>
    </a:txDef>
  </a:objectDefaults>
  <a:extraClrSchemeLst>
    <a:extraClrScheme>
      <a:clrScheme name="US Consulting On-screen S WHT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S WHT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S WHT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S WHT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S WHT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S WHT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S WHT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S WHT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S WHT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S WHT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S WHT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S WHT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S WHT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TOC Master">
  <a:themeElements>
    <a:clrScheme name="TOC Master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TOC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TOC Master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OC Master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OC Master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OC Master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OC Master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OC Master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OC Master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TOC Master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TOC Master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TOC Master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TOC Master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TOC Master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TOC Master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TOC Master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TOC Master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TOC Master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Deloitte_US_Onscreen</Template>
  <TotalTime>28144</TotalTime>
  <Words>1746</Words>
  <Application>Microsoft Office PowerPoint</Application>
  <PresentationFormat>Widescreen</PresentationFormat>
  <Paragraphs>189</Paragraphs>
  <Slides>20</Slides>
  <Notes>3</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0</vt:i4>
      </vt:variant>
    </vt:vector>
  </HeadingPairs>
  <TitlesOfParts>
    <vt:vector size="37" baseType="lpstr">
      <vt:lpstr>Arial</vt:lpstr>
      <vt:lpstr>Frutiger Next Pro Light</vt:lpstr>
      <vt:lpstr>Gotham-Book</vt:lpstr>
      <vt:lpstr>Times New Roman</vt:lpstr>
      <vt:lpstr>Wingdings</vt:lpstr>
      <vt:lpstr>Wingdings 2</vt:lpstr>
      <vt:lpstr>ヒラギノ角ゴ ProN W6</vt:lpstr>
      <vt:lpstr>1_Deloitte_US_Onscreen</vt:lpstr>
      <vt:lpstr>27_US Consulting Report Template_R1.5V_043008</vt:lpstr>
      <vt:lpstr>blank</vt:lpstr>
      <vt:lpstr>4_US Consulting Report Template_R1.5V_0310</vt:lpstr>
      <vt:lpstr>1_Talent_ On screen slides 20120601</vt:lpstr>
      <vt:lpstr>28_US Consulting Report Template_R1.5V_043008</vt:lpstr>
      <vt:lpstr>11_US Consulting On-screen M WHT_R1.5V_0310</vt:lpstr>
      <vt:lpstr>US Consulting Report Template_R1.5V_0310</vt:lpstr>
      <vt:lpstr>TOC Master</vt:lpstr>
      <vt:lpstr>think-cell Slide</vt:lpstr>
      <vt:lpstr>The Future Of Learning – It is Already Here!</vt:lpstr>
      <vt:lpstr>PowerPoint Presentation</vt:lpstr>
      <vt:lpstr>PowerPoint Presentation</vt:lpstr>
      <vt:lpstr>Our Audience: The Modern Learner</vt:lpstr>
      <vt:lpstr>Exploring The Modern Learner </vt:lpstr>
      <vt:lpstr>PowerPoint Presentation</vt:lpstr>
      <vt:lpstr>The Four E’s</vt:lpstr>
      <vt:lpstr>PowerPoint Presentation</vt:lpstr>
      <vt:lpstr>A New System for Developing Our People</vt:lpstr>
      <vt:lpstr>PowerPoint Presentation</vt:lpstr>
      <vt:lpstr>Building Core Skills</vt:lpstr>
      <vt:lpstr>Supporting On-the-Job Performance</vt:lpstr>
      <vt:lpstr>Developing Beyond Core Skills</vt:lpstr>
      <vt:lpstr>Resources — My Development Plan (MDP)</vt:lpstr>
      <vt:lpstr>My Development Plan</vt:lpstr>
      <vt:lpstr>PowerPoint Presentation</vt:lpstr>
      <vt:lpstr>Sharing Insights and Addressing Key Questions</vt:lpstr>
      <vt:lpstr>Where we need to go</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owerPoint template — Top tips for use</dc:title>
  <dc:creator>Wolf, Christina</dc:creator>
  <cp:lastModifiedBy>Jessica Luttrull</cp:lastModifiedBy>
  <cp:revision>1024</cp:revision>
  <cp:lastPrinted>2014-08-21T19:15:16Z</cp:lastPrinted>
  <dcterms:created xsi:type="dcterms:W3CDTF">2014-06-24T17:06:54Z</dcterms:created>
  <dcterms:modified xsi:type="dcterms:W3CDTF">2015-09-21T18:19:55Z</dcterms:modified>
</cp:coreProperties>
</file>